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heme/theme2.xml" ContentType="application/vnd.openxmlformats-officedocument.them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notesSlides/notesSlide1.xml" ContentType="application/vnd.openxmlformats-officedocument.presentationml.notesSlide+xml"/>
  <Override PartName="/ppt/tags/tag80.xml" ContentType="application/vnd.openxmlformats-officedocument.presentationml.tags+xml"/>
  <Override PartName="/ppt/tags/tag81.xml" ContentType="application/vnd.openxmlformats-officedocument.presentationml.tags+xml"/>
  <Override PartName="/ppt/notesSlides/notesSlide2.xml" ContentType="application/vnd.openxmlformats-officedocument.presentationml.notesSlide+xml"/>
  <Override PartName="/ppt/tags/tag8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9" r:id="rId1"/>
  </p:sldMasterIdLst>
  <p:notesMasterIdLst>
    <p:notesMasterId r:id="rId8"/>
  </p:notesMasterIdLst>
  <p:sldIdLst>
    <p:sldId id="2147374995" r:id="rId2"/>
    <p:sldId id="2147375000" r:id="rId3"/>
    <p:sldId id="2147375002" r:id="rId4"/>
    <p:sldId id="2147374982" r:id="rId5"/>
    <p:sldId id="2147375001" r:id="rId6"/>
    <p:sldId id="2147374996" r:id="rId7"/>
  </p:sldIdLst>
  <p:sldSz cx="9144000" cy="5143500" type="screen16x9"/>
  <p:notesSz cx="6858000" cy="9144000"/>
  <p:custDataLst>
    <p:tags r:id="rId9"/>
  </p:custDataLst>
  <p:defaultTextStyle>
    <a:defPPr>
      <a:defRPr lang="de-DE"/>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rön, Anne-Marie (StMAS)" initials="KA(" lastIdx="11" clrIdx="0">
    <p:extLst>
      <p:ext uri="{19B8F6BF-5375-455C-9EA6-DF929625EA0E}">
        <p15:presenceInfo xmlns:p15="http://schemas.microsoft.com/office/powerpoint/2012/main" userId="S-1-5-21-631908245-2691628023-2175784875-1489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4E78"/>
    <a:srgbClr val="E71C57"/>
    <a:srgbClr val="AFAFAF"/>
    <a:srgbClr val="6C8CA6"/>
    <a:srgbClr val="A8BCCF"/>
    <a:srgbClr val="DEE6EE"/>
    <a:srgbClr val="4C7895"/>
    <a:srgbClr val="003B59"/>
    <a:srgbClr val="E2E2E2"/>
    <a:srgbClr val="C8C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3" autoAdjust="0"/>
  </p:normalViewPr>
  <p:slideViewPr>
    <p:cSldViewPr>
      <p:cViewPr varScale="1">
        <p:scale>
          <a:sx n="163" d="100"/>
          <a:sy n="163" d="100"/>
        </p:scale>
        <p:origin x="150" y="306"/>
      </p:cViewPr>
      <p:guideLst>
        <p:guide orient="horz" pos="1620"/>
        <p:guide pos="2880"/>
      </p:guideLst>
    </p:cSldViewPr>
  </p:slideViewPr>
  <p:outlineViewPr>
    <p:cViewPr>
      <p:scale>
        <a:sx n="33" d="100"/>
        <a:sy n="33" d="100"/>
      </p:scale>
      <p:origin x="48"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tags" Target="tags/tag1.xml"/><Relationship Id="rId14"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3.v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image" Target="../media/image1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atin typeface="+mn-lt"/>
                <a:ea typeface="+mn-ea"/>
                <a:cs typeface="+mn-cs"/>
                <a:sym typeface="Novel Sans Pro" panose="02000000000000000000" pitchFamily="50" charset="0"/>
              </a:defRPr>
            </a:lvl1pPr>
          </a:lstStyle>
          <a:p>
            <a:endParaRPr lang="de-DE"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rtl="0">
              <a:defRPr sz="1200">
                <a:latin typeface="+mn-lt"/>
                <a:ea typeface="+mn-ea"/>
                <a:cs typeface="+mn-cs"/>
                <a:sym typeface="Novel Sans Pro" panose="02000000000000000000" pitchFamily="50" charset="0"/>
              </a:defRPr>
            </a:lvl1pPr>
          </a:lstStyle>
          <a:p>
            <a:fld id="{E8F1706F-D662-473E-9E64-E99283111F03}" type="datetimeFigureOut">
              <a:rPr lang="de-DE" smtClean="0"/>
              <a:pPr/>
              <a:t>21.03.2022</a:t>
            </a:fld>
            <a:endParaRPr lang="de-DE"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atin typeface="+mn-lt"/>
                <a:ea typeface="+mn-ea"/>
                <a:cs typeface="+mn-cs"/>
                <a:sym typeface="Novel Sans Pro" panose="02000000000000000000" pitchFamily="50" charset="0"/>
              </a:defRPr>
            </a:lvl1pPr>
          </a:lstStyle>
          <a:p>
            <a:endParaRPr lang="de-DE"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atin typeface="+mn-lt"/>
                <a:ea typeface="+mn-ea"/>
                <a:cs typeface="+mn-cs"/>
                <a:sym typeface="Novel Sans Pro" panose="02000000000000000000" pitchFamily="50" charset="0"/>
              </a:defRPr>
            </a:lvl1pPr>
          </a:lstStyle>
          <a:p>
            <a:fld id="{3AC0749A-DC83-44CA-9FF2-1582BBE62487}" type="slidenum">
              <a:rPr lang="de-DE" smtClean="0"/>
              <a:pPr/>
              <a:t>‹Nr.›</a:t>
            </a:fld>
            <a:endParaRPr lang="de-DE" dirty="0"/>
          </a:p>
        </p:txBody>
      </p:sp>
    </p:spTree>
    <p:extLst>
      <p:ext uri="{BB962C8B-B14F-4D97-AF65-F5344CB8AC3E}">
        <p14:creationId xmlns:p14="http://schemas.microsoft.com/office/powerpoint/2010/main" val="135439704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sym typeface="Novel Sans Pro" panose="02000000000000000000" pitchFamily="50" charset="0"/>
      </a:defRPr>
    </a:lvl1pPr>
    <a:lvl2pPr marL="457200" algn="l" defTabSz="914400" rtl="0" eaLnBrk="1" latinLnBrk="0" hangingPunct="1">
      <a:defRPr sz="1200" kern="1200">
        <a:solidFill>
          <a:schemeClr val="tx1"/>
        </a:solidFill>
        <a:latin typeface="+mn-lt"/>
        <a:ea typeface="+mn-ea"/>
        <a:cs typeface="+mn-cs"/>
        <a:sym typeface="Novel Sans Pro" panose="02000000000000000000" pitchFamily="50" charset="0"/>
      </a:defRPr>
    </a:lvl2pPr>
    <a:lvl3pPr marL="914400" algn="l" defTabSz="914400" rtl="0" eaLnBrk="1" latinLnBrk="0" hangingPunct="1">
      <a:defRPr sz="1200" kern="1200">
        <a:solidFill>
          <a:schemeClr val="tx1"/>
        </a:solidFill>
        <a:latin typeface="+mn-lt"/>
        <a:ea typeface="+mn-ea"/>
        <a:cs typeface="+mn-cs"/>
        <a:sym typeface="Novel Sans Pro" panose="02000000000000000000" pitchFamily="50" charset="0"/>
      </a:defRPr>
    </a:lvl3pPr>
    <a:lvl4pPr marL="1371600" algn="l" defTabSz="914400" rtl="0" eaLnBrk="1" latinLnBrk="0" hangingPunct="1">
      <a:defRPr sz="1200" kern="1200">
        <a:solidFill>
          <a:schemeClr val="tx1"/>
        </a:solidFill>
        <a:latin typeface="+mn-lt"/>
        <a:ea typeface="+mn-ea"/>
        <a:cs typeface="+mn-cs"/>
        <a:sym typeface="Novel Sans Pro" panose="02000000000000000000" pitchFamily="50" charset="0"/>
      </a:defRPr>
    </a:lvl4pPr>
    <a:lvl5pPr marL="1828800" algn="l" defTabSz="914400" rtl="0" eaLnBrk="1" latinLnBrk="0" hangingPunct="1">
      <a:defRPr sz="1200" kern="1200">
        <a:solidFill>
          <a:schemeClr val="tx1"/>
        </a:solidFill>
        <a:latin typeface="+mn-lt"/>
        <a:ea typeface="+mn-ea"/>
        <a:cs typeface="+mn-cs"/>
        <a:sym typeface="Novel Sans Pro" panose="02000000000000000000" pitchFamily="50"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5A42C4-6223-4DA1-9D58-7543B2CF42DC}" type="slidenum">
              <a:rPr lang="en-US" smtClean="0"/>
              <a:t>5</a:t>
            </a:fld>
            <a:endParaRPr lang="en-US"/>
          </a:p>
        </p:txBody>
      </p:sp>
    </p:spTree>
    <p:extLst>
      <p:ext uri="{BB962C8B-B14F-4D97-AF65-F5344CB8AC3E}">
        <p14:creationId xmlns:p14="http://schemas.microsoft.com/office/powerpoint/2010/main" val="33620561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9.png"/><Relationship Id="rId5" Type="http://schemas.openxmlformats.org/officeDocument/2006/relationships/image" Target="../media/image8.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1.png"/><Relationship Id="rId5" Type="http://schemas.openxmlformats.org/officeDocument/2006/relationships/image" Target="../media/image5.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image" Target="../media/image3.jpg"/></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9.png"/><Relationship Id="rId5" Type="http://schemas.openxmlformats.org/officeDocument/2006/relationships/image" Target="../media/image6.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13.jpg"/><Relationship Id="rId5" Type="http://schemas.openxmlformats.org/officeDocument/2006/relationships/image" Target="../media/image1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4.jpeg"/><Relationship Id="rId5" Type="http://schemas.openxmlformats.org/officeDocument/2006/relationships/image" Target="../media/image6.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3.jp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2.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7.png"/><Relationship Id="rId5" Type="http://schemas.openxmlformats.org/officeDocument/2006/relationships/image" Target="../media/image5.emf"/><Relationship Id="rId4" Type="http://schemas.openxmlformats.org/officeDocument/2006/relationships/oleObject" Target="../embeddings/oleObject4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11.png"/><Relationship Id="rId5" Type="http://schemas.openxmlformats.org/officeDocument/2006/relationships/image" Target="../media/image8.emf"/><Relationship Id="rId4" Type="http://schemas.openxmlformats.org/officeDocument/2006/relationships/oleObject" Target="../embeddings/oleObject46.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47.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8.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50.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10.png"/><Relationship Id="rId5" Type="http://schemas.openxmlformats.org/officeDocument/2006/relationships/image" Target="../media/image5.emf"/><Relationship Id="rId4" Type="http://schemas.openxmlformats.org/officeDocument/2006/relationships/oleObject" Target="../embeddings/oleObject51.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52.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5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7.png"/><Relationship Id="rId5" Type="http://schemas.openxmlformats.org/officeDocument/2006/relationships/image" Target="../media/image8.emf"/><Relationship Id="rId4" Type="http://schemas.openxmlformats.org/officeDocument/2006/relationships/oleObject" Target="../embeddings/oleObject54.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5.emf"/><Relationship Id="rId4" Type="http://schemas.openxmlformats.org/officeDocument/2006/relationships/oleObject" Target="../embeddings/oleObject55.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3.jpg"/><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1.emf"/><Relationship Id="rId5" Type="http://schemas.openxmlformats.org/officeDocument/2006/relationships/oleObject" Target="../embeddings/oleObject59.bin"/><Relationship Id="rId4" Type="http://schemas.openxmlformats.org/officeDocument/2006/relationships/image" Target="../media/image3.jp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4.jpeg"/><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14.emf"/><Relationship Id="rId5" Type="http://schemas.openxmlformats.org/officeDocument/2006/relationships/oleObject" Target="../embeddings/oleObject61.bin"/><Relationship Id="rId4"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62.vml"/><Relationship Id="rId6" Type="http://schemas.openxmlformats.org/officeDocument/2006/relationships/image" Target="../media/image4.jpeg"/><Relationship Id="rId5" Type="http://schemas.openxmlformats.org/officeDocument/2006/relationships/image" Target="../media/image14.emf"/><Relationship Id="rId4" Type="http://schemas.openxmlformats.org/officeDocument/2006/relationships/oleObject" Target="../embeddings/oleObject62.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63.vml"/><Relationship Id="rId6" Type="http://schemas.openxmlformats.org/officeDocument/2006/relationships/image" Target="../media/image4.jpeg"/><Relationship Id="rId5" Type="http://schemas.openxmlformats.org/officeDocument/2006/relationships/image" Target="../media/image14.emf"/><Relationship Id="rId4" Type="http://schemas.openxmlformats.org/officeDocument/2006/relationships/oleObject" Target="../embeddings/oleObject6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66.xml"/><Relationship Id="rId1" Type="http://schemas.openxmlformats.org/officeDocument/2006/relationships/vmlDrawing" Target="../drawings/vmlDrawing64.vml"/><Relationship Id="rId6" Type="http://schemas.openxmlformats.org/officeDocument/2006/relationships/image" Target="../media/image7.png"/><Relationship Id="rId5" Type="http://schemas.openxmlformats.org/officeDocument/2006/relationships/image" Target="../media/image14.emf"/><Relationship Id="rId4" Type="http://schemas.openxmlformats.org/officeDocument/2006/relationships/oleObject" Target="../embeddings/oleObject64.bin"/></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4.jpeg"/><Relationship Id="rId2" Type="http://schemas.openxmlformats.org/officeDocument/2006/relationships/tags" Target="../tags/tag67.xml"/><Relationship Id="rId1" Type="http://schemas.openxmlformats.org/officeDocument/2006/relationships/vmlDrawing" Target="../drawings/vmlDrawing65.vml"/><Relationship Id="rId6" Type="http://schemas.openxmlformats.org/officeDocument/2006/relationships/image" Target="../media/image14.emf"/><Relationship Id="rId5" Type="http://schemas.openxmlformats.org/officeDocument/2006/relationships/oleObject" Target="../embeddings/oleObject65.bin"/><Relationship Id="rId4"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66.vml"/><Relationship Id="rId6" Type="http://schemas.openxmlformats.org/officeDocument/2006/relationships/image" Target="../media/image4.jpeg"/><Relationship Id="rId5" Type="http://schemas.openxmlformats.org/officeDocument/2006/relationships/image" Target="../media/image14.emf"/><Relationship Id="rId4" Type="http://schemas.openxmlformats.org/officeDocument/2006/relationships/oleObject" Target="../embeddings/oleObject66.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67.vml"/><Relationship Id="rId6" Type="http://schemas.openxmlformats.org/officeDocument/2006/relationships/image" Target="../media/image4.jpeg"/><Relationship Id="rId5" Type="http://schemas.openxmlformats.org/officeDocument/2006/relationships/image" Target="../media/image14.emf"/><Relationship Id="rId4" Type="http://schemas.openxmlformats.org/officeDocument/2006/relationships/oleObject" Target="../embeddings/oleObject67.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71.xml"/><Relationship Id="rId1" Type="http://schemas.openxmlformats.org/officeDocument/2006/relationships/vmlDrawing" Target="../drawings/vmlDrawing68.vml"/><Relationship Id="rId6" Type="http://schemas.openxmlformats.org/officeDocument/2006/relationships/image" Target="../media/image7.png"/><Relationship Id="rId5" Type="http://schemas.openxmlformats.org/officeDocument/2006/relationships/image" Target="../media/image14.emf"/><Relationship Id="rId4" Type="http://schemas.openxmlformats.org/officeDocument/2006/relationships/oleObject" Target="../embeddings/oleObject68.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72.xml"/><Relationship Id="rId1" Type="http://schemas.openxmlformats.org/officeDocument/2006/relationships/vmlDrawing" Target="../drawings/vmlDrawing69.vml"/><Relationship Id="rId6" Type="http://schemas.openxmlformats.org/officeDocument/2006/relationships/image" Target="../media/image9.png"/><Relationship Id="rId5" Type="http://schemas.openxmlformats.org/officeDocument/2006/relationships/image" Target="../media/image14.emf"/><Relationship Id="rId4" Type="http://schemas.openxmlformats.org/officeDocument/2006/relationships/oleObject" Target="../embeddings/oleObject69.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4.jpeg"/><Relationship Id="rId5" Type="http://schemas.openxmlformats.org/officeDocument/2006/relationships/image" Target="../media/image5.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4.jpe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Abschnitts-&#10;überschrif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ACF8247-CF58-4EDC-B936-89916F308B8A}"/>
              </a:ext>
            </a:extLst>
          </p:cNvPr>
          <p:cNvGraphicFramePr>
            <a:graphicFrameLocks noChangeAspect="1"/>
          </p:cNvGraphicFramePr>
          <p:nvPr userDrawn="1">
            <p:custDataLst>
              <p:tags r:id="rId2"/>
            </p:custDataLst>
            <p:extLst>
              <p:ext uri="{D42A27DB-BD31-4B8C-83A1-F6EECF244321}">
                <p14:modId xmlns:p14="http://schemas.microsoft.com/office/powerpoint/2010/main" val="2360130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6"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a:xfrm>
            <a:off x="472500" y="3305176"/>
            <a:ext cx="8275964" cy="1277273"/>
          </a:xfrm>
        </p:spPr>
        <p:txBody>
          <a:bodyPr vert="horz"/>
          <a:lstStyle>
            <a:lvl1pPr algn="l" rtl="0">
              <a:defRPr sz="4000" b="1" cap="all">
                <a:latin typeface="+mj-lt"/>
                <a:ea typeface="+mj-ea"/>
                <a:cs typeface="+mj-cs"/>
                <a:sym typeface="Novel Sans Pro" panose="02000000000000000000" pitchFamily="50" charset="0"/>
              </a:defRPr>
            </a:lvl1pPr>
          </a:lstStyle>
          <a:p>
            <a:r>
              <a:rPr lang="de-DE" dirty="0"/>
              <a:t>Click to edit Master title style</a:t>
            </a:r>
          </a:p>
        </p:txBody>
      </p:sp>
      <p:sp>
        <p:nvSpPr>
          <p:cNvPr id="3" name="Textplatzhalter 2"/>
          <p:cNvSpPr>
            <a:spLocks noGrp="1"/>
          </p:cNvSpPr>
          <p:nvPr>
            <p:ph type="body" idx="1"/>
          </p:nvPr>
        </p:nvSpPr>
        <p:spPr>
          <a:xfrm>
            <a:off x="472500" y="2180035"/>
            <a:ext cx="8275964" cy="1125140"/>
          </a:xfrm>
        </p:spPr>
        <p:txBody>
          <a:bodyPr anchor="b"/>
          <a:lstStyle>
            <a:lvl1pPr marL="0" indent="0" rtl="0">
              <a:buNone/>
              <a:defRPr sz="2000">
                <a:latin typeface="+mn-lt"/>
                <a:ea typeface="+mn-ea"/>
                <a:cs typeface="+mn-cs"/>
                <a:sym typeface="Novel Sans Pro" panose="02000000000000000000" pitchFamily="50" charset="0"/>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p:txBody>
      </p:sp>
    </p:spTree>
    <p:extLst>
      <p:ext uri="{BB962C8B-B14F-4D97-AF65-F5344CB8AC3E}">
        <p14:creationId xmlns:p14="http://schemas.microsoft.com/office/powerpoint/2010/main" val="30922751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7A686D2-38BF-4267-B877-7A16B14028C7}"/>
              </a:ext>
            </a:extLst>
          </p:cNvPr>
          <p:cNvGraphicFramePr>
            <a:graphicFrameLocks noChangeAspect="1"/>
          </p:cNvGraphicFramePr>
          <p:nvPr userDrawn="1">
            <p:custDataLst>
              <p:tags r:id="rId2"/>
            </p:custDataLst>
            <p:extLst>
              <p:ext uri="{D42A27DB-BD31-4B8C-83A1-F6EECF244321}">
                <p14:modId xmlns:p14="http://schemas.microsoft.com/office/powerpoint/2010/main" val="40816708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9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pic>
        <p:nvPicPr>
          <p:cNvPr id="11" name="Picture 10" descr="A picture containing graphical user interface&#10;&#10;Description automatically generated">
            <a:extLst>
              <a:ext uri="{FF2B5EF4-FFF2-40B4-BE49-F238E27FC236}">
                <a16:creationId xmlns:a16="http://schemas.microsoft.com/office/drawing/2014/main" id="{AE68415C-DB14-4388-B4E8-01ABEE30A675}"/>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0836CFC7-28D6-4F4A-BDCC-5B95902A74F7}"/>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0214E22D-9BC2-4DA4-A077-E75458F12F77}"/>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7D625C67-F07F-4E49-AB45-320EFC8304B0}"/>
              </a:ext>
            </a:extLst>
          </p:cNvPr>
          <p:cNvSpPr>
            <a:spLocks noGrp="1"/>
          </p:cNvSpPr>
          <p:nvPr>
            <p:ph type="title"/>
          </p:nvPr>
        </p:nvSpPr>
        <p:spPr>
          <a:xfrm>
            <a:off x="472501" y="300174"/>
            <a:ext cx="6187732" cy="415498"/>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176996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F1D631-25DD-43A5-9079-26FF53B4DC4F}"/>
              </a:ext>
            </a:extLst>
          </p:cNvPr>
          <p:cNvGraphicFramePr>
            <a:graphicFrameLocks noChangeAspect="1"/>
          </p:cNvGraphicFramePr>
          <p:nvPr userDrawn="1">
            <p:custDataLst>
              <p:tags r:id="rId2"/>
            </p:custDataLst>
            <p:extLst>
              <p:ext uri="{D42A27DB-BD31-4B8C-83A1-F6EECF244321}">
                <p14:modId xmlns:p14="http://schemas.microsoft.com/office/powerpoint/2010/main" val="37032372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16"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24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pic>
        <p:nvPicPr>
          <p:cNvPr id="9" name="Picture 8" descr="A picture containing graphical user interface&#10;&#10;Description automatically generated">
            <a:extLst>
              <a:ext uri="{FF2B5EF4-FFF2-40B4-BE49-F238E27FC236}">
                <a16:creationId xmlns:a16="http://schemas.microsoft.com/office/drawing/2014/main" id="{C418B213-CC8C-446F-8BC5-6353DBB0ECAA}"/>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Slide Number Placeholder 28">
            <a:extLst>
              <a:ext uri="{FF2B5EF4-FFF2-40B4-BE49-F238E27FC236}">
                <a16:creationId xmlns:a16="http://schemas.microsoft.com/office/drawing/2014/main" id="{CEC6C2D0-6164-4C63-BFFF-65ED862C83B8}"/>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1" name="Copyright" hidden="1">
            <a:extLst>
              <a:ext uri="{FF2B5EF4-FFF2-40B4-BE49-F238E27FC236}">
                <a16:creationId xmlns:a16="http://schemas.microsoft.com/office/drawing/2014/main" id="{CA56524A-778A-476C-9CC3-16BFDD0CD2A7}"/>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5355538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1914F70-8DA6-4CF3-9105-C1EAB7F4D433}"/>
              </a:ext>
            </a:extLst>
          </p:cNvPr>
          <p:cNvGraphicFramePr>
            <a:graphicFrameLocks noChangeAspect="1"/>
          </p:cNvGraphicFramePr>
          <p:nvPr userDrawn="1">
            <p:custDataLst>
              <p:tags r:id="rId2"/>
            </p:custDataLst>
            <p:extLst>
              <p:ext uri="{D42A27DB-BD31-4B8C-83A1-F6EECF244321}">
                <p14:modId xmlns:p14="http://schemas.microsoft.com/office/powerpoint/2010/main" val="6721407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0"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1914F70-8DA6-4CF3-9105-C1EAB7F4D43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rtl="0">
              <a:defRPr sz="1400" baseline="0">
                <a:latin typeface="+mn-lt"/>
                <a:ea typeface="+mn-ea"/>
                <a:cs typeface="+mn-cs"/>
                <a:sym typeface="Novel Sans Pro" panose="02000000000000000000" pitchFamily="50" charset="0"/>
              </a:defRPr>
            </a:lvl1pPr>
          </a:lstStyle>
          <a:p>
            <a:r>
              <a:rPr lang="de-DE" dirty="0"/>
              <a:t>Click </a:t>
            </a:r>
            <a:r>
              <a:rPr lang="de-DE" dirty="0" err="1"/>
              <a:t>icon</a:t>
            </a:r>
            <a:r>
              <a:rPr lang="de-DE" dirty="0"/>
              <a:t> </a:t>
            </a:r>
            <a:r>
              <a:rPr lang="de-DE" dirty="0" err="1"/>
              <a:t>below</a:t>
            </a:r>
            <a:r>
              <a:rPr lang="de-DE" dirty="0"/>
              <a:t> </a:t>
            </a:r>
            <a:r>
              <a:rPr lang="de-DE" dirty="0" err="1"/>
              <a:t>to</a:t>
            </a:r>
            <a:r>
              <a:rPr lang="de-DE" dirty="0"/>
              <a:t> </a:t>
            </a:r>
            <a:r>
              <a:rPr lang="de-DE" dirty="0" err="1"/>
              <a:t>insert</a:t>
            </a:r>
            <a:r>
              <a:rPr lang="de-DE" dirty="0"/>
              <a:t> an </a:t>
            </a:r>
            <a:r>
              <a:rPr lang="de-DE" dirty="0" err="1"/>
              <a:t>image</a:t>
            </a:r>
            <a:r>
              <a:rPr lang="de-DE" dirty="0"/>
              <a:t> </a:t>
            </a:r>
            <a:r>
              <a:rPr lang="de-DE" dirty="0" err="1"/>
              <a:t>or</a:t>
            </a:r>
            <a:r>
              <a:rPr lang="de-DE" dirty="0"/>
              <a:t> </a:t>
            </a:r>
            <a:r>
              <a:rPr lang="de-DE" dirty="0" err="1"/>
              <a:t>remove</a:t>
            </a:r>
            <a:r>
              <a:rPr lang="de-DE" dirty="0"/>
              <a:t> </a:t>
            </a:r>
            <a:r>
              <a:rPr lang="de-DE" dirty="0" err="1"/>
              <a:t>this</a:t>
            </a:r>
            <a:r>
              <a:rPr lang="de-DE" dirty="0"/>
              <a:t> </a:t>
            </a:r>
            <a:r>
              <a:rPr lang="de-DE" dirty="0" err="1"/>
              <a:t>placeholder</a:t>
            </a:r>
            <a:r>
              <a:rPr lang="de-DE" dirty="0"/>
              <a:t> </a:t>
            </a:r>
            <a:r>
              <a:rPr lang="de-DE" dirty="0" err="1"/>
              <a:t>to</a:t>
            </a:r>
            <a:r>
              <a:rPr lang="de-DE" dirty="0"/>
              <a:t> </a:t>
            </a:r>
            <a:r>
              <a:rPr lang="de-DE" dirty="0" err="1"/>
              <a:t>use</a:t>
            </a:r>
            <a:r>
              <a:rPr lang="de-DE" dirty="0"/>
              <a:t> </a:t>
            </a:r>
            <a:r>
              <a:rPr lang="de-DE" dirty="0" err="1"/>
              <a:t>the</a:t>
            </a:r>
            <a:r>
              <a:rPr lang="de-DE" dirty="0"/>
              <a:t> </a:t>
            </a:r>
            <a:r>
              <a:rPr lang="de-DE" dirty="0" err="1"/>
              <a:t>whitespace</a:t>
            </a:r>
            <a:r>
              <a:rPr lang="de-DE" dirty="0"/>
              <a:t> in </a:t>
            </a:r>
            <a:r>
              <a:rPr lang="de-DE" dirty="0" err="1"/>
              <a:t>another</a:t>
            </a:r>
            <a:r>
              <a:rPr lang="de-DE" dirty="0"/>
              <a:t> </a:t>
            </a:r>
            <a:r>
              <a:rPr lang="de-DE" dirty="0" err="1"/>
              <a:t>way</a:t>
            </a:r>
            <a:endParaRPr lang="de-DE" dirty="0"/>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vert="horz" wrap="square" lIns="0" tIns="0" rIns="320040" bIns="0" anchor="ctr">
            <a:noAutofit/>
          </a:bodyPr>
          <a:lstStyle>
            <a:lvl1pPr rtl="0">
              <a:defRPr sz="32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6" name="Picture 15" descr="A picture containing graphical user interface&#10;&#10;Description automatically generated">
            <a:extLst>
              <a:ext uri="{FF2B5EF4-FFF2-40B4-BE49-F238E27FC236}">
                <a16:creationId xmlns:a16="http://schemas.microsoft.com/office/drawing/2014/main" id="{C87CCDDF-8BD2-4FCE-A604-07C91C30C583}"/>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8" name="Slide Number Placeholder 28">
            <a:extLst>
              <a:ext uri="{FF2B5EF4-FFF2-40B4-BE49-F238E27FC236}">
                <a16:creationId xmlns:a16="http://schemas.microsoft.com/office/drawing/2014/main" id="{0752FBA6-D8D7-4D9E-BF13-79740389AC1D}"/>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9" name="Copyright" hidden="1">
            <a:extLst>
              <a:ext uri="{FF2B5EF4-FFF2-40B4-BE49-F238E27FC236}">
                <a16:creationId xmlns:a16="http://schemas.microsoft.com/office/drawing/2014/main" id="{0E4B1840-25D0-4E07-A62B-226DF8E05C3E}"/>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068367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093F016-B917-4BB8-A74B-E675BA872382}"/>
              </a:ext>
            </a:extLst>
          </p:cNvPr>
          <p:cNvGraphicFramePr>
            <a:graphicFrameLocks noChangeAspect="1"/>
          </p:cNvGraphicFramePr>
          <p:nvPr userDrawn="1">
            <p:custDataLst>
              <p:tags r:id="rId2"/>
            </p:custDataLst>
            <p:extLst>
              <p:ext uri="{D42A27DB-BD31-4B8C-83A1-F6EECF244321}">
                <p14:modId xmlns:p14="http://schemas.microsoft.com/office/powerpoint/2010/main" val="4103419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4"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5093F016-B917-4BB8-A74B-E675BA8723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rtl="0">
              <a:defRPr sz="1200">
                <a:solidFill>
                  <a:schemeClr val="tx1"/>
                </a:solidFill>
                <a:latin typeface="+mn-lt"/>
                <a:ea typeface="+mn-ea"/>
                <a:cs typeface="+mn-cs"/>
                <a:sym typeface="Novel Sans Pro" panose="02000000000000000000" pitchFamily="50" charset="0"/>
              </a:defRPr>
            </a:lvl1pPr>
          </a:lstStyle>
          <a:p>
            <a:r>
              <a:rPr lang="de-DE" dirty="0"/>
              <a:t>Click </a:t>
            </a:r>
            <a:r>
              <a:rPr lang="de-DE" dirty="0" err="1"/>
              <a:t>icon</a:t>
            </a:r>
            <a:r>
              <a:rPr lang="de-DE" dirty="0"/>
              <a:t> </a:t>
            </a:r>
            <a:r>
              <a:rPr lang="de-DE" dirty="0" err="1"/>
              <a:t>below</a:t>
            </a:r>
            <a:r>
              <a:rPr lang="de-DE" dirty="0"/>
              <a:t> </a:t>
            </a:r>
            <a:r>
              <a:rPr lang="de-DE" dirty="0" err="1"/>
              <a:t>to</a:t>
            </a:r>
            <a:r>
              <a:rPr lang="de-DE" dirty="0"/>
              <a:t> </a:t>
            </a:r>
            <a:r>
              <a:rPr lang="de-DE" dirty="0" err="1"/>
              <a:t>insert</a:t>
            </a:r>
            <a:r>
              <a:rPr lang="de-DE" dirty="0"/>
              <a:t> an </a:t>
            </a:r>
            <a:r>
              <a:rPr lang="de-DE" dirty="0" err="1"/>
              <a:t>image</a:t>
            </a:r>
            <a:r>
              <a:rPr lang="de-DE" dirty="0"/>
              <a:t> </a:t>
            </a:r>
            <a:r>
              <a:rPr lang="de-DE" dirty="0" err="1"/>
              <a:t>or</a:t>
            </a:r>
            <a:r>
              <a:rPr lang="de-DE" dirty="0"/>
              <a:t> </a:t>
            </a:r>
            <a:r>
              <a:rPr lang="de-DE" dirty="0" err="1"/>
              <a:t>remove</a:t>
            </a:r>
            <a:r>
              <a:rPr lang="de-DE" dirty="0"/>
              <a:t> </a:t>
            </a:r>
            <a:r>
              <a:rPr lang="de-DE" dirty="0" err="1"/>
              <a:t>this</a:t>
            </a:r>
            <a:r>
              <a:rPr lang="de-DE" dirty="0"/>
              <a:t> </a:t>
            </a:r>
            <a:r>
              <a:rPr lang="de-DE" dirty="0" err="1"/>
              <a:t>placeholder</a:t>
            </a:r>
            <a:r>
              <a:rPr lang="de-DE" dirty="0"/>
              <a:t> </a:t>
            </a:r>
            <a:r>
              <a:rPr lang="de-DE" dirty="0" err="1"/>
              <a:t>to</a:t>
            </a:r>
            <a:r>
              <a:rPr lang="de-DE" dirty="0"/>
              <a:t> </a:t>
            </a:r>
            <a:r>
              <a:rPr lang="de-DE" dirty="0" err="1"/>
              <a:t>use</a:t>
            </a:r>
            <a:r>
              <a:rPr lang="de-DE" dirty="0"/>
              <a:t> </a:t>
            </a:r>
            <a:r>
              <a:rPr lang="de-DE" dirty="0" err="1"/>
              <a:t>the</a:t>
            </a:r>
            <a:r>
              <a:rPr lang="de-DE" dirty="0"/>
              <a:t> </a:t>
            </a:r>
            <a:r>
              <a:rPr lang="de-DE" dirty="0" err="1"/>
              <a:t>whitespace</a:t>
            </a:r>
            <a:r>
              <a:rPr lang="de-DE" dirty="0"/>
              <a:t> in </a:t>
            </a:r>
            <a:r>
              <a:rPr lang="de-DE" dirty="0" err="1"/>
              <a:t>another</a:t>
            </a:r>
            <a:r>
              <a:rPr lang="de-DE" dirty="0"/>
              <a:t> </a:t>
            </a:r>
            <a:r>
              <a:rPr lang="de-DE" dirty="0" err="1"/>
              <a:t>way</a:t>
            </a:r>
            <a:endParaRPr lang="de-DE" dirty="0"/>
          </a:p>
        </p:txBody>
      </p:sp>
      <p:sp>
        <p:nvSpPr>
          <p:cNvPr id="15" name="Title 1"/>
          <p:cNvSpPr>
            <a:spLocks noGrp="1"/>
          </p:cNvSpPr>
          <p:nvPr>
            <p:ph type="title" hasCustomPrompt="1"/>
          </p:nvPr>
        </p:nvSpPr>
        <p:spPr bwMode="black">
          <a:xfrm>
            <a:off x="473202" y="1363039"/>
            <a:ext cx="4685664" cy="2465100"/>
          </a:xfrm>
          <a:prstGeom prst="rect">
            <a:avLst/>
          </a:prstGeom>
        </p:spPr>
        <p:txBody>
          <a:bodyPr vert="horz" anchor="ctr">
            <a:noAutofit/>
          </a:bodyPr>
          <a:lstStyle>
            <a:lvl1pPr rtl="0">
              <a:defRPr sz="32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6" name="Picture 15" descr="A picture containing graphical user interface&#10;&#10;Description automatically generated">
            <a:extLst>
              <a:ext uri="{FF2B5EF4-FFF2-40B4-BE49-F238E27FC236}">
                <a16:creationId xmlns:a16="http://schemas.microsoft.com/office/drawing/2014/main" id="{B802953A-06C6-42E3-A106-818B05AE43E9}"/>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7" name="Slide Number Placeholder 28">
            <a:extLst>
              <a:ext uri="{FF2B5EF4-FFF2-40B4-BE49-F238E27FC236}">
                <a16:creationId xmlns:a16="http://schemas.microsoft.com/office/drawing/2014/main" id="{B6330272-965A-4196-9AB7-C535BEFF95B7}"/>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8" name="Copyright" hidden="1">
            <a:extLst>
              <a:ext uri="{FF2B5EF4-FFF2-40B4-BE49-F238E27FC236}">
                <a16:creationId xmlns:a16="http://schemas.microsoft.com/office/drawing/2014/main" id="{CE71EA33-7857-4D43-998D-D816929E8D0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3909783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0049715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15388"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9" name="Picture 8" descr="A picture containing graphical user interface&#10;&#10;Description automatically generated">
            <a:extLst>
              <a:ext uri="{FF2B5EF4-FFF2-40B4-BE49-F238E27FC236}">
                <a16:creationId xmlns:a16="http://schemas.microsoft.com/office/drawing/2014/main" id="{3EBADC37-36BA-4196-8502-4EDD83169FF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4" name="Slide Number Placeholder 28">
            <a:extLst>
              <a:ext uri="{FF2B5EF4-FFF2-40B4-BE49-F238E27FC236}">
                <a16:creationId xmlns:a16="http://schemas.microsoft.com/office/drawing/2014/main" id="{C9389CEB-6D6B-4BEC-A56C-DEC90AFF205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5" name="Copyright" hidden="1">
            <a:extLst>
              <a:ext uri="{FF2B5EF4-FFF2-40B4-BE49-F238E27FC236}">
                <a16:creationId xmlns:a16="http://schemas.microsoft.com/office/drawing/2014/main" id="{B634069F-94CD-4FF0-B6D6-6529CBBDC0D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16" name="Title 4">
            <a:extLst>
              <a:ext uri="{FF2B5EF4-FFF2-40B4-BE49-F238E27FC236}">
                <a16:creationId xmlns:a16="http://schemas.microsoft.com/office/drawing/2014/main" id="{C3465ECA-69CB-4ABD-B077-33A3B25AF347}"/>
              </a:ext>
            </a:extLst>
          </p:cNvPr>
          <p:cNvSpPr>
            <a:spLocks noGrp="1"/>
          </p:cNvSpPr>
          <p:nvPr>
            <p:ph type="title" hasCustomPrompt="1"/>
          </p:nvPr>
        </p:nvSpPr>
        <p:spPr>
          <a:xfrm>
            <a:off x="472500" y="2073153"/>
            <a:ext cx="1858979" cy="985733"/>
          </a:xfrm>
        </p:spPr>
        <p:txBody>
          <a:bodyPr vert="horz" anchor="ctr" anchorCtr="0">
            <a:noAutofit/>
          </a:bodyPr>
          <a:lstStyle>
            <a:lvl1pPr rtl="0">
              <a:defRPr>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spTree>
    <p:extLst>
      <p:ext uri="{BB962C8B-B14F-4D97-AF65-F5344CB8AC3E}">
        <p14:creationId xmlns:p14="http://schemas.microsoft.com/office/powerpoint/2010/main" val="4244982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F16210D-94AC-48B1-BBF6-B979A5599EAF}"/>
              </a:ext>
            </a:extLst>
          </p:cNvPr>
          <p:cNvGraphicFramePr>
            <a:graphicFrameLocks noChangeAspect="1"/>
          </p:cNvGraphicFramePr>
          <p:nvPr userDrawn="1">
            <p:custDataLst>
              <p:tags r:id="rId2"/>
            </p:custDataLst>
            <p:extLst>
              <p:ext uri="{D42A27DB-BD31-4B8C-83A1-F6EECF244321}">
                <p14:modId xmlns:p14="http://schemas.microsoft.com/office/powerpoint/2010/main" val="1886060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5" name="Title 4"/>
          <p:cNvSpPr>
            <a:spLocks noGrp="1"/>
          </p:cNvSpPr>
          <p:nvPr>
            <p:ph type="title" hasCustomPrompt="1"/>
          </p:nvPr>
        </p:nvSpPr>
        <p:spPr>
          <a:xfrm>
            <a:off x="472500" y="2073153"/>
            <a:ext cx="1858979" cy="985733"/>
          </a:xfrm>
        </p:spPr>
        <p:txBody>
          <a:bodyPr vert="horz" anchor="ctr" anchorCtr="0">
            <a:noAutofit/>
          </a:bodyPr>
          <a:lstStyle>
            <a:lvl1pPr rtl="0">
              <a:defRPr>
                <a:solidFill>
                  <a:srgbClr val="FFFFFF"/>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descr="A picture containing graphical user interface&#10;&#10;Description automatically generated">
            <a:extLst>
              <a:ext uri="{FF2B5EF4-FFF2-40B4-BE49-F238E27FC236}">
                <a16:creationId xmlns:a16="http://schemas.microsoft.com/office/drawing/2014/main" id="{719763A5-5A0E-4190-996C-687130991411}"/>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3F27E422-74B3-4FF6-ACE7-CF187D045EE6}"/>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3" name="Copyright" hidden="1">
            <a:extLst>
              <a:ext uri="{FF2B5EF4-FFF2-40B4-BE49-F238E27FC236}">
                <a16:creationId xmlns:a16="http://schemas.microsoft.com/office/drawing/2014/main" id="{E366139E-B540-4039-8749-AC3CCBE0DC03}"/>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941215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F480E1-C974-460A-80AC-01AB5F61EE32}"/>
              </a:ext>
            </a:extLst>
          </p:cNvPr>
          <p:cNvGraphicFramePr>
            <a:graphicFrameLocks noChangeAspect="1"/>
          </p:cNvGraphicFramePr>
          <p:nvPr userDrawn="1">
            <p:custDataLst>
              <p:tags r:id="rId2"/>
            </p:custDataLst>
            <p:extLst>
              <p:ext uri="{D42A27DB-BD31-4B8C-83A1-F6EECF244321}">
                <p14:modId xmlns:p14="http://schemas.microsoft.com/office/powerpoint/2010/main" val="34546581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6"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9AF480E1-C974-460A-80AC-01AB5F61EE3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407019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200" b="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descr="A picture containing graphical user interface&#10;&#10;Description automatically generated">
            <a:extLst>
              <a:ext uri="{FF2B5EF4-FFF2-40B4-BE49-F238E27FC236}">
                <a16:creationId xmlns:a16="http://schemas.microsoft.com/office/drawing/2014/main" id="{49E8CBB1-3B01-4FF3-9059-F83245F89B19}"/>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3" name="Slide Number Placeholder 28">
            <a:extLst>
              <a:ext uri="{FF2B5EF4-FFF2-40B4-BE49-F238E27FC236}">
                <a16:creationId xmlns:a16="http://schemas.microsoft.com/office/drawing/2014/main" id="{99A3A38A-3C49-4E35-8A10-C1313276C74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554733C2-3C9A-4C1E-B317-73FA518AFF37}"/>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2960072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B2585C2-D8B8-4F70-A9FC-52EF92ADA81F}"/>
              </a:ext>
            </a:extLst>
          </p:cNvPr>
          <p:cNvGraphicFramePr>
            <a:graphicFrameLocks noChangeAspect="1"/>
          </p:cNvGraphicFramePr>
          <p:nvPr userDrawn="1">
            <p:custDataLst>
              <p:tags r:id="rId2"/>
            </p:custDataLst>
            <p:extLst>
              <p:ext uri="{D42A27DB-BD31-4B8C-83A1-F6EECF244321}">
                <p14:modId xmlns:p14="http://schemas.microsoft.com/office/powerpoint/2010/main" val="1752266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0"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3B2585C2-D8B8-4F70-A9FC-52EF92ADA81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4070190" cy="5143500"/>
          </a:xfrm>
          <a:prstGeom prst="homePlate">
            <a:avLst>
              <a:gd name="adj" fmla="val 12939"/>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200" b="0">
                <a:solidFill>
                  <a:srgbClr val="FFFFFF"/>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3F2F4B05-F350-48F2-887F-F8C103B5362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9AD5C2FC-FF73-4687-9E1B-87AB611B84DB}"/>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E760065E-3AB4-462D-96C5-3AE77577FE0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613307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470BEF6-5F7D-4F8B-8189-EE89C6171A1D}"/>
              </a:ext>
            </a:extLst>
          </p:cNvPr>
          <p:cNvGraphicFramePr>
            <a:graphicFrameLocks noChangeAspect="1"/>
          </p:cNvGraphicFramePr>
          <p:nvPr userDrawn="1">
            <p:custDataLst>
              <p:tags r:id="rId2"/>
            </p:custDataLst>
            <p:extLst>
              <p:ext uri="{D42A27DB-BD31-4B8C-83A1-F6EECF244321}">
                <p14:modId xmlns:p14="http://schemas.microsoft.com/office/powerpoint/2010/main" val="35447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4"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descr="A picture containing graphical user interface&#10;&#10;Description automatically generated">
            <a:extLst>
              <a:ext uri="{FF2B5EF4-FFF2-40B4-BE49-F238E27FC236}">
                <a16:creationId xmlns:a16="http://schemas.microsoft.com/office/drawing/2014/main" id="{68B42B32-93ED-4D9C-9ED9-973B57DBACA5}"/>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2DD41621-4738-4158-9B2D-F1EF44E1CDF9}"/>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9CB9ACEC-2A25-417B-8642-7E50DE66962E}"/>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0F97551E-1927-4208-8FE4-2A35C69FF734}"/>
              </a:ext>
            </a:extLst>
          </p:cNvPr>
          <p:cNvSpPr>
            <a:spLocks noGrp="1"/>
          </p:cNvSpPr>
          <p:nvPr>
            <p:ph type="title"/>
          </p:nvPr>
        </p:nvSpPr>
        <p:spPr>
          <a:xfrm>
            <a:off x="472501" y="300174"/>
            <a:ext cx="3595444" cy="784830"/>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882741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67BA428-2B62-4E78-96EC-6CA3A19D39AE}"/>
              </a:ext>
            </a:extLst>
          </p:cNvPr>
          <p:cNvGraphicFramePr>
            <a:graphicFrameLocks noChangeAspect="1"/>
          </p:cNvGraphicFramePr>
          <p:nvPr userDrawn="1">
            <p:custDataLst>
              <p:tags r:id="rId2"/>
            </p:custDataLst>
            <p:extLst>
              <p:ext uri="{D42A27DB-BD31-4B8C-83A1-F6EECF244321}">
                <p14:modId xmlns:p14="http://schemas.microsoft.com/office/powerpoint/2010/main" val="7134599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8"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descr="A picture containing graphical user interface&#10;&#10;Description automatically generated">
            <a:extLst>
              <a:ext uri="{FF2B5EF4-FFF2-40B4-BE49-F238E27FC236}">
                <a16:creationId xmlns:a16="http://schemas.microsoft.com/office/drawing/2014/main" id="{50209C06-4EA9-44F0-80CA-491F5656A092}"/>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3" name="Slide Number Placeholder 28">
            <a:extLst>
              <a:ext uri="{FF2B5EF4-FFF2-40B4-BE49-F238E27FC236}">
                <a16:creationId xmlns:a16="http://schemas.microsoft.com/office/drawing/2014/main" id="{6248C9BF-F01E-483A-8ADA-EA087CC486D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6" name="Copyright" hidden="1">
            <a:extLst>
              <a:ext uri="{FF2B5EF4-FFF2-40B4-BE49-F238E27FC236}">
                <a16:creationId xmlns:a16="http://schemas.microsoft.com/office/drawing/2014/main" id="{0A5D62B1-91F6-42A3-9FB7-84C86D912EBB}"/>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ECFF7320-31A1-4DF1-B83D-0EC9F4C1AA6B}"/>
              </a:ext>
            </a:extLst>
          </p:cNvPr>
          <p:cNvSpPr>
            <a:spLocks noGrp="1"/>
          </p:cNvSpPr>
          <p:nvPr>
            <p:ph type="title"/>
          </p:nvPr>
        </p:nvSpPr>
        <p:spPr>
          <a:xfrm>
            <a:off x="472501" y="300174"/>
            <a:ext cx="3451428" cy="784830"/>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586911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D. Title Slide">
    <p:bg>
      <p:bgPr>
        <a:blipFill dpi="0" rotWithShape="0">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FA975-70B8-45C9-9965-AA1DAC63FF26}"/>
              </a:ext>
            </a:extLst>
          </p:cNvPr>
          <p:cNvGraphicFramePr>
            <a:graphicFrameLocks noChangeAspect="1"/>
          </p:cNvGraphicFramePr>
          <p:nvPr userDrawn="1">
            <p:custDataLst>
              <p:tags r:id="rId2"/>
            </p:custDataLst>
            <p:extLst>
              <p:ext uri="{D42A27DB-BD31-4B8C-83A1-F6EECF244321}">
                <p14:modId xmlns:p14="http://schemas.microsoft.com/office/powerpoint/2010/main" val="697168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0" name="think-cell Slide" r:id="rId5" imgW="328" imgH="328" progId="TCLayout.ActiveDocument.1">
                  <p:embed/>
                </p:oleObj>
              </mc:Choice>
              <mc:Fallback>
                <p:oleObj name="think-cell Slide" r:id="rId5" imgW="328" imgH="328" progId="TCLayout.ActiveDocument.1">
                  <p:embed/>
                  <p:pic>
                    <p:nvPicPr>
                      <p:cNvPr id="3" name="Object 2" hidden="1">
                        <a:extLst>
                          <a:ext uri="{FF2B5EF4-FFF2-40B4-BE49-F238E27FC236}">
                            <a16:creationId xmlns:a16="http://schemas.microsoft.com/office/drawing/2014/main" id="{796FA975-70B8-45C9-9965-AA1DAC63FF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1986" name="Rectangle 2"/>
          <p:cNvSpPr>
            <a:spLocks noGrp="1" noChangeArrowheads="1"/>
          </p:cNvSpPr>
          <p:nvPr>
            <p:ph type="ctrTitle"/>
          </p:nvPr>
        </p:nvSpPr>
        <p:spPr>
          <a:xfrm>
            <a:off x="2411760" y="1845737"/>
            <a:ext cx="5325716" cy="1277273"/>
          </a:xfrm>
        </p:spPr>
        <p:txBody>
          <a:bodyPr vert="horz" wrap="square" lIns="91440" rIns="0" anchor="b">
            <a:spAutoFit/>
          </a:bodyPr>
          <a:lstStyle>
            <a:lvl1pPr algn="r" rtl="0">
              <a:defRPr sz="4000">
                <a:solidFill>
                  <a:schemeClr val="bg1"/>
                </a:solidFill>
                <a:latin typeface="+mj-lt"/>
                <a:ea typeface="+mj-ea"/>
                <a:cs typeface="+mj-cs"/>
                <a:sym typeface="Novel Sans Pro" panose="02000000000000000000" pitchFamily="50" charset="0"/>
              </a:defRPr>
            </a:lvl1pPr>
          </a:lstStyle>
          <a:p>
            <a:pPr lvl="0"/>
            <a:r>
              <a:rPr lang="de-DE" noProof="0" dirty="0"/>
              <a:t>Click to edit Master title style</a:t>
            </a:r>
          </a:p>
        </p:txBody>
      </p:sp>
      <p:sp>
        <p:nvSpPr>
          <p:cNvPr id="41987" name="Rectangle 3"/>
          <p:cNvSpPr>
            <a:spLocks noGrp="1" noChangeArrowheads="1"/>
          </p:cNvSpPr>
          <p:nvPr>
            <p:ph type="subTitle" idx="1"/>
          </p:nvPr>
        </p:nvSpPr>
        <p:spPr>
          <a:xfrm>
            <a:off x="971551" y="3219450"/>
            <a:ext cx="6761163" cy="353943"/>
          </a:xfrm>
        </p:spPr>
        <p:txBody>
          <a:bodyPr lIns="91440" rIns="0">
            <a:spAutoFit/>
          </a:bodyPr>
          <a:lstStyle>
            <a:lvl1pPr marL="0" indent="0" algn="r" rtl="0">
              <a:defRPr sz="2000" i="1">
                <a:solidFill>
                  <a:schemeClr val="bg1"/>
                </a:solidFill>
                <a:latin typeface="+mn-lt"/>
                <a:ea typeface="+mn-ea"/>
                <a:cs typeface="+mn-cs"/>
                <a:sym typeface="Novel Sans Pro" panose="02000000000000000000" pitchFamily="50" charset="0"/>
              </a:defRPr>
            </a:lvl1pPr>
          </a:lstStyle>
          <a:p>
            <a:pPr lvl="0"/>
            <a:r>
              <a:rPr lang="de-DE" noProof="0" dirty="0"/>
              <a:t>Click to edit Master subtitle style</a:t>
            </a:r>
          </a:p>
        </p:txBody>
      </p:sp>
    </p:spTree>
    <p:extLst>
      <p:ext uri="{BB962C8B-B14F-4D97-AF65-F5344CB8AC3E}">
        <p14:creationId xmlns:p14="http://schemas.microsoft.com/office/powerpoint/2010/main" val="241091797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CD8E08E-B761-4D94-AD72-69E13940F58F}"/>
              </a:ext>
            </a:extLst>
          </p:cNvPr>
          <p:cNvGraphicFramePr>
            <a:graphicFrameLocks noChangeAspect="1"/>
          </p:cNvGraphicFramePr>
          <p:nvPr userDrawn="1">
            <p:custDataLst>
              <p:tags r:id="rId2"/>
            </p:custDataLst>
            <p:extLst>
              <p:ext uri="{D42A27DB-BD31-4B8C-83A1-F6EECF244321}">
                <p14:modId xmlns:p14="http://schemas.microsoft.com/office/powerpoint/2010/main" val="3939819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2"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ECD8E08E-B761-4D94-AD72-69E13940F58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descr="A picture containing graphical user interface&#10;&#10;Description automatically generated">
            <a:extLst>
              <a:ext uri="{FF2B5EF4-FFF2-40B4-BE49-F238E27FC236}">
                <a16:creationId xmlns:a16="http://schemas.microsoft.com/office/drawing/2014/main" id="{8ED78223-6D8B-477F-87CC-E1C81CCC0FFB}"/>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4" name="Slide Number Placeholder 28">
            <a:extLst>
              <a:ext uri="{FF2B5EF4-FFF2-40B4-BE49-F238E27FC236}">
                <a16:creationId xmlns:a16="http://schemas.microsoft.com/office/drawing/2014/main" id="{6759DDE6-816A-4A91-A70E-33354D140436}"/>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6" name="Copyright" hidden="1">
            <a:extLst>
              <a:ext uri="{FF2B5EF4-FFF2-40B4-BE49-F238E27FC236}">
                <a16:creationId xmlns:a16="http://schemas.microsoft.com/office/drawing/2014/main" id="{AF74D67D-D814-4149-BB34-CCB6249DC640}"/>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DCEA8299-76E5-4136-AB5F-7233AF4F0943}"/>
              </a:ext>
            </a:extLst>
          </p:cNvPr>
          <p:cNvSpPr>
            <a:spLocks noGrp="1"/>
          </p:cNvSpPr>
          <p:nvPr>
            <p:ph type="title"/>
          </p:nvPr>
        </p:nvSpPr>
        <p:spPr>
          <a:xfrm>
            <a:off x="472501" y="300174"/>
            <a:ext cx="5107612" cy="415498"/>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1048218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7CDDABE-D4FC-4A13-9955-6B3042E8CC5E}"/>
              </a:ext>
            </a:extLst>
          </p:cNvPr>
          <p:cNvGraphicFramePr>
            <a:graphicFrameLocks noChangeAspect="1"/>
          </p:cNvGraphicFramePr>
          <p:nvPr userDrawn="1">
            <p:custDataLst>
              <p:tags r:id="rId2"/>
            </p:custDataLst>
            <p:extLst>
              <p:ext uri="{D42A27DB-BD31-4B8C-83A1-F6EECF244321}">
                <p14:modId xmlns:p14="http://schemas.microsoft.com/office/powerpoint/2010/main" val="9129493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6" name="think-cell Slide" r:id="rId4" imgW="473" imgH="474" progId="TCLayout.ActiveDocument.1">
                  <p:embed/>
                </p:oleObj>
              </mc:Choice>
              <mc:Fallback>
                <p:oleObj name="think-cell Slide" r:id="rId4" imgW="473" imgH="474" progId="TCLayout.ActiveDocument.1">
                  <p:embed/>
                  <p:pic>
                    <p:nvPicPr>
                      <p:cNvPr id="4" name="Object 3" hidden="1">
                        <a:extLst>
                          <a:ext uri="{FF2B5EF4-FFF2-40B4-BE49-F238E27FC236}">
                            <a16:creationId xmlns:a16="http://schemas.microsoft.com/office/drawing/2014/main" id="{97CDDABE-D4FC-4A13-9955-6B3042E8CC5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D663E507-6170-4E91-8929-833636397C1A}"/>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4590CFFE-883B-4E5E-A28B-A51675433026}"/>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3" name="Copyright" hidden="1">
            <a:extLst>
              <a:ext uri="{FF2B5EF4-FFF2-40B4-BE49-F238E27FC236}">
                <a16:creationId xmlns:a16="http://schemas.microsoft.com/office/drawing/2014/main" id="{D2014090-55E9-4DA8-A2B8-CC4A478421C4}"/>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66DAA4F9-8960-4CF0-A348-C47E4C949F8B}"/>
              </a:ext>
            </a:extLst>
          </p:cNvPr>
          <p:cNvSpPr>
            <a:spLocks noGrp="1"/>
          </p:cNvSpPr>
          <p:nvPr>
            <p:ph type="title"/>
          </p:nvPr>
        </p:nvSpPr>
        <p:spPr>
          <a:xfrm>
            <a:off x="472501" y="300174"/>
            <a:ext cx="5107612" cy="415498"/>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1034872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53000">
              <a:srgbClr val="A8BCCF"/>
            </a:gs>
            <a:gs pos="4000">
              <a:srgbClr val="4C7895"/>
            </a:gs>
            <a:gs pos="92000">
              <a:schemeClr val="bg1"/>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4E6BBCB-D4D2-4DCC-AC20-806B475BCC6E}"/>
              </a:ext>
            </a:extLst>
          </p:cNvPr>
          <p:cNvGraphicFramePr>
            <a:graphicFrameLocks noChangeAspect="1"/>
          </p:cNvGraphicFramePr>
          <p:nvPr userDrawn="1">
            <p:custDataLst>
              <p:tags r:id="rId2"/>
            </p:custDataLst>
            <p:extLst>
              <p:ext uri="{D42A27DB-BD31-4B8C-83A1-F6EECF244321}">
                <p14:modId xmlns:p14="http://schemas.microsoft.com/office/powerpoint/2010/main" val="2953364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0"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4E6BBCB-D4D2-4DCC-AC20-806B475BCC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pic>
        <p:nvPicPr>
          <p:cNvPr id="8" name="Picture 7" descr="A picture containing graphical user interface&#10;&#10;Description automatically generated">
            <a:extLst>
              <a:ext uri="{FF2B5EF4-FFF2-40B4-BE49-F238E27FC236}">
                <a16:creationId xmlns:a16="http://schemas.microsoft.com/office/drawing/2014/main" id="{D0FFC337-C2D9-4A06-B379-E1FDFA42E4E7}"/>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39A7D438-1AEA-414B-8018-13B1E674312B}"/>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3" name="Copyright" hidden="1">
            <a:extLst>
              <a:ext uri="{FF2B5EF4-FFF2-40B4-BE49-F238E27FC236}">
                <a16:creationId xmlns:a16="http://schemas.microsoft.com/office/drawing/2014/main" id="{000BC161-B8CA-451F-A1E5-CF51DE444D4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1445620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87FC761-9BF5-4E13-A5DE-178F03D8D262}"/>
              </a:ext>
            </a:extLst>
          </p:cNvPr>
          <p:cNvGraphicFramePr>
            <a:graphicFrameLocks noChangeAspect="1"/>
          </p:cNvGraphicFramePr>
          <p:nvPr userDrawn="1">
            <p:custDataLst>
              <p:tags r:id="rId2"/>
            </p:custDataLst>
            <p:extLst>
              <p:ext uri="{D42A27DB-BD31-4B8C-83A1-F6EECF244321}">
                <p14:modId xmlns:p14="http://schemas.microsoft.com/office/powerpoint/2010/main" val="1258698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4"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E87FC761-9BF5-4E13-A5DE-178F03D8D2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472500" y="469106"/>
            <a:ext cx="699516" cy="699516"/>
          </a:xfrm>
          <a:prstGeom prst="rect">
            <a:avLst/>
          </a:prstGeom>
          <a:noFill/>
          <a:ln w="9525" cap="flat" cmpd="sng" algn="ctr">
            <a:solidFill>
              <a:srgbClr val="0A4E7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pic>
        <p:nvPicPr>
          <p:cNvPr id="9" name="Picture 8" descr="A picture containing graphical user interface&#10;&#10;Description automatically generated">
            <a:extLst>
              <a:ext uri="{FF2B5EF4-FFF2-40B4-BE49-F238E27FC236}">
                <a16:creationId xmlns:a16="http://schemas.microsoft.com/office/drawing/2014/main" id="{D965CB49-3BC8-4B98-8E2C-EB2A48FF6095}"/>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Copyright" hidden="1">
            <a:extLst>
              <a:ext uri="{FF2B5EF4-FFF2-40B4-BE49-F238E27FC236}">
                <a16:creationId xmlns:a16="http://schemas.microsoft.com/office/drawing/2014/main" id="{7964C09C-6226-496F-8B9D-935E2C446870}"/>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514190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A4E78"/>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18042123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25628"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C95CB73D-21DC-4996-82C3-F99337CF884D}"/>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11" name="Freeform 58">
            <a:extLst>
              <a:ext uri="{FF2B5EF4-FFF2-40B4-BE49-F238E27FC236}">
                <a16:creationId xmlns:a16="http://schemas.microsoft.com/office/drawing/2014/main" id="{19C88289-C7F0-445E-AEA1-317B59BDFED5}"/>
              </a:ext>
            </a:extLst>
          </p:cNvPr>
          <p:cNvSpPr>
            <a:spLocks/>
          </p:cNvSpPr>
          <p:nvPr userDrawn="1"/>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12" name="Picture 11" descr="A picture containing graphical user interface&#10;&#10;Description automatically generated">
            <a:extLst>
              <a:ext uri="{FF2B5EF4-FFF2-40B4-BE49-F238E27FC236}">
                <a16:creationId xmlns:a16="http://schemas.microsoft.com/office/drawing/2014/main" id="{A122CA88-8EA6-4E89-B5F6-F1DAAAE6CF5F}"/>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3" name="Slide Number Placeholder 28">
            <a:extLst>
              <a:ext uri="{FF2B5EF4-FFF2-40B4-BE49-F238E27FC236}">
                <a16:creationId xmlns:a16="http://schemas.microsoft.com/office/drawing/2014/main" id="{47C47DAF-DEA5-4822-8DA0-76226190A8F6}"/>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19702930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E9F743B-84C3-4E15-8A62-17F926FE45C2}"/>
              </a:ext>
            </a:extLst>
          </p:cNvPr>
          <p:cNvGraphicFramePr>
            <a:graphicFrameLocks noChangeAspect="1"/>
          </p:cNvGraphicFramePr>
          <p:nvPr userDrawn="1">
            <p:custDataLst>
              <p:tags r:id="rId2"/>
            </p:custDataLst>
            <p:extLst>
              <p:ext uri="{D42A27DB-BD31-4B8C-83A1-F6EECF244321}">
                <p14:modId xmlns:p14="http://schemas.microsoft.com/office/powerpoint/2010/main" val="3645412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28">
            <a:extLst>
              <a:ext uri="{FF2B5EF4-FFF2-40B4-BE49-F238E27FC236}">
                <a16:creationId xmlns:a16="http://schemas.microsoft.com/office/drawing/2014/main" id="{DE74363C-B27F-404E-A144-945485D07BC4}"/>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9" name="Copyright" hidden="1">
            <a:extLst>
              <a:ext uri="{FF2B5EF4-FFF2-40B4-BE49-F238E27FC236}">
                <a16:creationId xmlns:a16="http://schemas.microsoft.com/office/drawing/2014/main" id="{2769BCB7-B97D-4173-A991-60236F8AC55F}"/>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10" name="Title 9">
            <a:extLst>
              <a:ext uri="{FF2B5EF4-FFF2-40B4-BE49-F238E27FC236}">
                <a16:creationId xmlns:a16="http://schemas.microsoft.com/office/drawing/2014/main" id="{C38BC3CE-C719-4908-90D1-B794A6DBAC59}"/>
              </a:ext>
            </a:extLst>
          </p:cNvPr>
          <p:cNvSpPr>
            <a:spLocks noGrp="1"/>
          </p:cNvSpPr>
          <p:nvPr>
            <p:ph type="title"/>
          </p:nvPr>
        </p:nvSpPr>
        <p:spPr/>
        <p:txBody>
          <a:bodyPr vert="horz"/>
          <a:lstStyle>
            <a:lvl1pPr rtl="0">
              <a:defRPr>
                <a:solidFill>
                  <a:schemeClr val="bg1"/>
                </a:solidFill>
                <a:latin typeface="+mj-lt"/>
                <a:ea typeface="+mj-ea"/>
                <a:cs typeface="+mj-cs"/>
                <a:sym typeface="Novel Sans Pro" panose="02000000000000000000" pitchFamily="50" charset="0"/>
              </a:defRPr>
            </a:lvl1pPr>
          </a:lstStyle>
          <a:p>
            <a:r>
              <a:rPr lang="de-DE" dirty="0"/>
              <a:t>Click to edit Master title style</a:t>
            </a:r>
          </a:p>
        </p:txBody>
      </p:sp>
      <p:sp>
        <p:nvSpPr>
          <p:cNvPr id="14" name="Rectangle 13">
            <a:extLst>
              <a:ext uri="{FF2B5EF4-FFF2-40B4-BE49-F238E27FC236}">
                <a16:creationId xmlns:a16="http://schemas.microsoft.com/office/drawing/2014/main" id="{07C6E5A2-A831-4972-91FC-B7DACDC5EB6E}"/>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28797211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3CE3F9D-E8FF-407E-9B66-9E4DF3D45C63}"/>
              </a:ext>
            </a:extLst>
          </p:cNvPr>
          <p:cNvGraphicFramePr>
            <a:graphicFrameLocks noChangeAspect="1"/>
          </p:cNvGraphicFramePr>
          <p:nvPr userDrawn="1">
            <p:custDataLst>
              <p:tags r:id="rId2"/>
            </p:custDataLst>
            <p:extLst>
              <p:ext uri="{D42A27DB-BD31-4B8C-83A1-F6EECF244321}">
                <p14:modId xmlns:p14="http://schemas.microsoft.com/office/powerpoint/2010/main" val="3877584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6"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sp>
        <p:nvSpPr>
          <p:cNvPr id="20" name="TextBox 19"/>
          <p:cNvSpPr txBox="1"/>
          <p:nvPr userDrawn="1"/>
        </p:nvSpPr>
        <p:spPr>
          <a:xfrm>
            <a:off x="472500" y="2010058"/>
            <a:ext cx="2114550" cy="1123384"/>
          </a:xfrm>
          <a:prstGeom prst="rect">
            <a:avLst/>
          </a:prstGeom>
          <a:noFill/>
        </p:spPr>
        <p:txBody>
          <a:bodyPr wrap="square" lIns="0" tIns="0" rIns="0" bIns="0" rtlCol="0" anchor="ctr">
            <a:spAutoFit/>
          </a:bodyPr>
          <a:lstStyle/>
          <a:p>
            <a:pPr marL="0" indent="0" rtl="0">
              <a:lnSpc>
                <a:spcPct val="90000"/>
              </a:lnSpc>
              <a:spcAft>
                <a:spcPts val="0"/>
              </a:spcAft>
              <a:buFontTx/>
              <a:buNone/>
            </a:pPr>
            <a:r>
              <a:rPr lang="de-DE" sz="4000" i="1" dirty="0">
                <a:solidFill>
                  <a:srgbClr val="0A4E78"/>
                </a:solidFill>
                <a:latin typeface="+mn-lt"/>
                <a:ea typeface="+mn-ea"/>
                <a:cs typeface="+mn-cs"/>
                <a:sym typeface="Novel Sans Pro" panose="02000000000000000000" pitchFamily="50" charset="0"/>
              </a:rPr>
              <a:t>Table </a:t>
            </a:r>
            <a:r>
              <a:rPr lang="de-DE" sz="4000" i="1" dirty="0" err="1">
                <a:solidFill>
                  <a:srgbClr val="0A4E78"/>
                </a:solidFill>
                <a:latin typeface="+mn-lt"/>
                <a:ea typeface="+mn-ea"/>
                <a:cs typeface="+mn-cs"/>
                <a:sym typeface="Novel Sans Pro" panose="02000000000000000000" pitchFamily="50" charset="0"/>
              </a:rPr>
              <a:t>of</a:t>
            </a:r>
            <a:r>
              <a:rPr lang="de-DE" sz="4000" i="1" dirty="0">
                <a:solidFill>
                  <a:srgbClr val="0A4E78"/>
                </a:solidFill>
                <a:latin typeface="+mn-lt"/>
                <a:ea typeface="+mn-ea"/>
                <a:cs typeface="+mn-cs"/>
                <a:sym typeface="Novel Sans Pro" panose="02000000000000000000" pitchFamily="50" charset="0"/>
              </a:rPr>
              <a:t> </a:t>
            </a:r>
            <a:r>
              <a:rPr lang="de-DE" sz="4000" i="1" dirty="0" err="1">
                <a:solidFill>
                  <a:srgbClr val="0A4E78"/>
                </a:solidFill>
                <a:latin typeface="+mn-lt"/>
                <a:ea typeface="+mn-ea"/>
                <a:cs typeface="+mn-cs"/>
                <a:sym typeface="Novel Sans Pro" panose="02000000000000000000" pitchFamily="50" charset="0"/>
              </a:rPr>
              <a:t>contents</a:t>
            </a:r>
            <a:endParaRPr lang="de-DE" sz="4000" i="1" dirty="0">
              <a:solidFill>
                <a:srgbClr val="0A4E78"/>
              </a:solidFill>
              <a:latin typeface="+mn-lt"/>
              <a:ea typeface="+mn-ea"/>
              <a:cs typeface="+mn-cs"/>
              <a:sym typeface="Novel Sans Pro" panose="02000000000000000000" pitchFamily="50" charset="0"/>
            </a:endParaRP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descr="A picture containing graphical user interface&#10;&#10;Description automatically generated">
            <a:extLst>
              <a:ext uri="{FF2B5EF4-FFF2-40B4-BE49-F238E27FC236}">
                <a16:creationId xmlns:a16="http://schemas.microsoft.com/office/drawing/2014/main" id="{1F3761D1-16AA-4808-991A-A4DAA15F880A}"/>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FBCDD55F-2055-49F5-B89D-AAAB1EABDC4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51DA97E2-78E6-4A4A-8135-0D1D66DC607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1800066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53000">
              <a:srgbClr val="A8BCCF"/>
            </a:gs>
            <a:gs pos="4000">
              <a:srgbClr val="4C7895"/>
            </a:gs>
            <a:gs pos="92000">
              <a:schemeClr val="bg1"/>
            </a:gs>
          </a:gsLst>
          <a:lin ang="16200000" scaled="1"/>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0E022EF-D2F2-4E66-ADF1-A026BD552D5E}"/>
              </a:ext>
            </a:extLst>
          </p:cNvPr>
          <p:cNvGraphicFramePr>
            <a:graphicFrameLocks noChangeAspect="1"/>
          </p:cNvGraphicFramePr>
          <p:nvPr userDrawn="1">
            <p:custDataLst>
              <p:tags r:id="rId2"/>
            </p:custDataLst>
            <p:extLst>
              <p:ext uri="{D42A27DB-BD31-4B8C-83A1-F6EECF244321}">
                <p14:modId xmlns:p14="http://schemas.microsoft.com/office/powerpoint/2010/main" val="2861389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00"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A picture containing graphical user interface&#10;&#10;Description automatically generated">
            <a:extLst>
              <a:ext uri="{FF2B5EF4-FFF2-40B4-BE49-F238E27FC236}">
                <a16:creationId xmlns:a16="http://schemas.microsoft.com/office/drawing/2014/main" id="{D2A51C56-8EB5-45C1-9513-EEF010FF8AE2}"/>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Slide Number Placeholder 28">
            <a:extLst>
              <a:ext uri="{FF2B5EF4-FFF2-40B4-BE49-F238E27FC236}">
                <a16:creationId xmlns:a16="http://schemas.microsoft.com/office/drawing/2014/main" id="{DA370898-CC85-41BC-AF7C-558C7F9E290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0" name="Copyright" hidden="1">
            <a:extLst>
              <a:ext uri="{FF2B5EF4-FFF2-40B4-BE49-F238E27FC236}">
                <a16:creationId xmlns:a16="http://schemas.microsoft.com/office/drawing/2014/main" id="{F33257CE-468F-4296-9A9A-34CC87AB4C0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93831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6308AF-F363-4CC7-A625-5AD4FFDE0910}"/>
              </a:ext>
            </a:extLst>
          </p:cNvPr>
          <p:cNvGraphicFramePr>
            <a:graphicFrameLocks noChangeAspect="1"/>
          </p:cNvGraphicFramePr>
          <p:nvPr userDrawn="1">
            <p:custDataLst>
              <p:tags r:id="rId2"/>
            </p:custDataLst>
            <p:extLst>
              <p:ext uri="{D42A27DB-BD31-4B8C-83A1-F6EECF244321}">
                <p14:modId xmlns:p14="http://schemas.microsoft.com/office/powerpoint/2010/main" val="542746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24"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graphical user interface&#10;&#10;Description automatically generated">
            <a:extLst>
              <a:ext uri="{FF2B5EF4-FFF2-40B4-BE49-F238E27FC236}">
                <a16:creationId xmlns:a16="http://schemas.microsoft.com/office/drawing/2014/main" id="{73880E4A-2B24-474D-BC96-39B29DEAFEEB}"/>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Copyright" hidden="1">
            <a:extLst>
              <a:ext uri="{FF2B5EF4-FFF2-40B4-BE49-F238E27FC236}">
                <a16:creationId xmlns:a16="http://schemas.microsoft.com/office/drawing/2014/main" id="{359578E4-7F1C-4A78-BB4C-6DF8C4A499C9}"/>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9" name="Rectangle 8">
            <a:extLst>
              <a:ext uri="{FF2B5EF4-FFF2-40B4-BE49-F238E27FC236}">
                <a16:creationId xmlns:a16="http://schemas.microsoft.com/office/drawing/2014/main" id="{F51A33C2-2C43-412A-A289-35F476751943}"/>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2455888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D. 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AE9110-0C31-4E88-B227-A1F13F4C573B}"/>
              </a:ext>
            </a:extLst>
          </p:cNvPr>
          <p:cNvGraphicFramePr>
            <a:graphicFrameLocks noChangeAspect="1"/>
          </p:cNvGraphicFramePr>
          <p:nvPr userDrawn="1">
            <p:custDataLst>
              <p:tags r:id="rId2"/>
            </p:custDataLst>
            <p:extLst>
              <p:ext uri="{D42A27DB-BD31-4B8C-83A1-F6EECF244321}">
                <p14:modId xmlns:p14="http://schemas.microsoft.com/office/powerpoint/2010/main" val="11649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8"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6E3DF4F0-92B5-4289-8ABB-EDD1ED1FD441}"/>
              </a:ext>
            </a:extLst>
          </p:cNvPr>
          <p:cNvSpPr/>
          <p:nvPr userDrawn="1"/>
        </p:nvSpPr>
        <p:spPr>
          <a:xfrm>
            <a:off x="3875440" y="1583587"/>
            <a:ext cx="4584992" cy="2446824"/>
          </a:xfrm>
          <a:prstGeom prst="rect">
            <a:avLst/>
          </a:prstGeom>
        </p:spPr>
        <p:txBody>
          <a:bodyPr wrap="square" lIns="0" tIns="0" rIns="0" bIns="0" anchor="ctr">
            <a:spAutoFit/>
          </a:bodyPr>
          <a:lstStyle/>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ie von der Boston Consulting Group (BCG) erbrachten Leistungen und bereitgestellten Dokumente unterliegen den Geschäftsbedingungen von BCG (die wir auf Wunsch zur Verfügung stellen) oder einer sonstigen mit BCG getroffenen entsprechenden Vereinbarung. BCG erbringt keinerlei Beratung in rechtlichen, </a:t>
            </a:r>
            <a:r>
              <a:rPr lang="de-DE" sz="600" b="0" dirty="0" err="1">
                <a:solidFill>
                  <a:srgbClr val="0A4E78"/>
                </a:solidFill>
                <a:latin typeface="+mn-lt"/>
                <a:ea typeface="+mn-ea"/>
                <a:cs typeface="+mn-cs"/>
                <a:sym typeface="Novel Sans Pro" panose="02000000000000000000" pitchFamily="50" charset="0"/>
              </a:rPr>
              <a:t>rechnungswesenbezogenen</a:t>
            </a:r>
            <a:r>
              <a:rPr lang="de-DE" sz="600" b="0" dirty="0">
                <a:solidFill>
                  <a:srgbClr val="0A4E78"/>
                </a:solidFill>
                <a:latin typeface="+mn-lt"/>
                <a:ea typeface="+mn-ea"/>
                <a:cs typeface="+mn-cs"/>
                <a:sym typeface="Novel Sans Pro" panose="02000000000000000000" pitchFamily="50" charset="0"/>
              </a:rPr>
              <a:t> oder steuerlichen Fragen. Der Kunde ist dafür verantwortlich, zu diesen Themen unabhängige Beratung einzuholen, durch welche sich Auswirkungen auf die Empfehlungen von BCG ergeben können. Seitens BCG besteht keinerlei Verpflichtung, Aktualisierungen an den bereitgestellten Arbeitsergebnissen vorzunehmen, ungeachtet dessen, </a:t>
            </a:r>
            <a:r>
              <a:rPr lang="de-DE" sz="600" b="0" dirty="0" err="1">
                <a:solidFill>
                  <a:srgbClr val="0A4E78"/>
                </a:solidFill>
                <a:latin typeface="+mn-lt"/>
                <a:ea typeface="+mn-ea"/>
                <a:cs typeface="+mn-cs"/>
                <a:sym typeface="Novel Sans Pro" panose="02000000000000000000" pitchFamily="50" charset="0"/>
              </a:rPr>
              <a:t>dass</a:t>
            </a:r>
            <a:r>
              <a:rPr lang="de-DE" sz="600" b="0" dirty="0">
                <a:solidFill>
                  <a:srgbClr val="0A4E78"/>
                </a:solidFill>
                <a:latin typeface="+mn-lt"/>
                <a:ea typeface="+mn-ea"/>
                <a:cs typeface="+mn-cs"/>
                <a:sym typeface="Novel Sans Pro" panose="02000000000000000000" pitchFamily="50" charset="0"/>
              </a:rPr>
              <a:t> die darin enthaltenen Informationen sich als überholt oder ungenau erweisen könnten.</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ie Inhalte dieser Präsentation sind ausschließlich für den Vorstand oder die Unternehmensleitung des Kunden bestimmt und dienen allein den in der Präsentation genannten Zwecken. Die Arbeitsergebnisse dürfen ohne vorherige schriftliche Zustimmung durch BCG weder kopiert noch an natürliche oder juristische Personen außerhalb der Kundenorganisation („Dritte“) weitergegeben werden. Die Arbeitsergebnisse sind ausschließlich als Diskussionsgrundlage konzipiert und ohne begleitende mündliche Erläuterungen unvollständig. Sie dürfen daher nur im Zusammenhang mit dem Vortrag gesehen werden. </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es Weiteren ist es Dritten nicht erlaubt und für sie nicht angemessen, sich, für welchen Zweck auch immer, auf diese Arbeitsergebnisse zu beziehen. Soweit gesetzlich zulässig (und sofern von BCG nicht ausdrücklich schriftlich etwas anderes zugesagt wurde), übernimmt BCG keinerlei Haftung gegenüber Dritten. Dritte verzichten auf die Geltend-machung jeglicher Rechte und Ansprüche gegenüber BCG im Hinblick auf die erbrachten Leistungen, diese Präsentation oder sonstige Arbeitsergebnisse einschließlich deren Korrektheit oder Vollständigkeit. Erhalt und Kenntnisnahme dieses Dokuments gelten als Zustimmung hierzu. </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BCG erstellt keine Gutachten („</a:t>
            </a:r>
            <a:r>
              <a:rPr lang="de-DE" sz="600" b="0" dirty="0" err="1">
                <a:solidFill>
                  <a:srgbClr val="0A4E78"/>
                </a:solidFill>
                <a:latin typeface="+mn-lt"/>
                <a:ea typeface="+mn-ea"/>
                <a:cs typeface="+mn-cs"/>
                <a:sym typeface="Novel Sans Pro" panose="02000000000000000000" pitchFamily="50" charset="0"/>
              </a:rPr>
              <a:t>Fairness</a:t>
            </a:r>
            <a:r>
              <a:rPr lang="de-DE" sz="600" b="0" dirty="0">
                <a:solidFill>
                  <a:srgbClr val="0A4E78"/>
                </a:solidFill>
                <a:latin typeface="+mn-lt"/>
                <a:ea typeface="+mn-ea"/>
                <a:cs typeface="+mn-cs"/>
                <a:sym typeface="Novel Sans Pro" panose="02000000000000000000" pitchFamily="50" charset="0"/>
              </a:rPr>
              <a:t> </a:t>
            </a:r>
            <a:r>
              <a:rPr lang="de-DE" sz="600" b="0" dirty="0" err="1">
                <a:solidFill>
                  <a:srgbClr val="0A4E78"/>
                </a:solidFill>
                <a:latin typeface="+mn-lt"/>
                <a:ea typeface="+mn-ea"/>
                <a:cs typeface="+mn-cs"/>
                <a:sym typeface="Novel Sans Pro" panose="02000000000000000000" pitchFamily="50" charset="0"/>
              </a:rPr>
              <a:t>Opinions</a:t>
            </a:r>
            <a:r>
              <a:rPr lang="de-DE" sz="600" b="0" dirty="0">
                <a:solidFill>
                  <a:srgbClr val="0A4E78"/>
                </a:solidFill>
                <a:latin typeface="+mn-lt"/>
                <a:ea typeface="+mn-ea"/>
                <a:cs typeface="+mn-cs"/>
                <a:sym typeface="Novel Sans Pro" panose="02000000000000000000" pitchFamily="50" charset="0"/>
              </a:rPr>
              <a:t>“) oder Bewertungen zu Markttransaktionen. Die Arbeitsergebnisse sollten daher nicht als solche genutzt oder </a:t>
            </a:r>
            <a:r>
              <a:rPr lang="de-DE" sz="600" b="0" dirty="0" err="1">
                <a:solidFill>
                  <a:srgbClr val="0A4E78"/>
                </a:solidFill>
                <a:latin typeface="+mn-lt"/>
                <a:ea typeface="+mn-ea"/>
                <a:cs typeface="+mn-cs"/>
                <a:sym typeface="Novel Sans Pro" panose="02000000000000000000" pitchFamily="50" charset="0"/>
              </a:rPr>
              <a:t>aufgefasst</a:t>
            </a:r>
            <a:r>
              <a:rPr lang="de-DE" sz="600" b="0" dirty="0">
                <a:solidFill>
                  <a:srgbClr val="0A4E78"/>
                </a:solidFill>
                <a:latin typeface="+mn-lt"/>
                <a:ea typeface="+mn-ea"/>
                <a:cs typeface="+mn-cs"/>
                <a:sym typeface="Novel Sans Pro" panose="02000000000000000000" pitchFamily="50" charset="0"/>
              </a:rPr>
              <a:t> werden. Die in den Arbeitsergebnissen enthaltenen finanziellen Bewertungen, prognostizierten Markt- und Finanzdaten sowie </a:t>
            </a:r>
            <a:r>
              <a:rPr lang="de-DE" sz="600" b="0" dirty="0" err="1">
                <a:solidFill>
                  <a:srgbClr val="0A4E78"/>
                </a:solidFill>
                <a:latin typeface="+mn-lt"/>
                <a:ea typeface="+mn-ea"/>
                <a:cs typeface="+mn-cs"/>
                <a:sym typeface="Novel Sans Pro" panose="02000000000000000000" pitchFamily="50" charset="0"/>
              </a:rPr>
              <a:t>Schlussfolgerungen</a:t>
            </a:r>
            <a:r>
              <a:rPr lang="de-DE" sz="600" b="0" dirty="0">
                <a:solidFill>
                  <a:srgbClr val="0A4E78"/>
                </a:solidFill>
                <a:latin typeface="+mn-lt"/>
                <a:ea typeface="+mn-ea"/>
                <a:cs typeface="+mn-cs"/>
                <a:sym typeface="Novel Sans Pro" panose="02000000000000000000" pitchFamily="50" charset="0"/>
              </a:rPr>
              <a:t> basieren auf marktüblichen Bewertungsmethoden. Sie stellen keine endgültigen Vorhersagen dar und werden von BCG nicht zugesichert. BCG hat öffentlich zugängliche und/oder vertrauliche Daten und Annahmen, die BCG vom Kunden zur Verfügung gestellt wurden, verwendet. Eine eigenständige Überprüfung dieser Daten und Annahmen durch BCG ist nicht erfolgt. Sollten sich zugrunde liegende Daten oder operative Annahmen ändern, kann dies auch </a:t>
            </a:r>
            <a:r>
              <a:rPr lang="de-DE" sz="600" b="0" dirty="0" err="1">
                <a:solidFill>
                  <a:srgbClr val="0A4E78"/>
                </a:solidFill>
                <a:latin typeface="+mn-lt"/>
                <a:ea typeface="+mn-ea"/>
                <a:cs typeface="+mn-cs"/>
                <a:sym typeface="Novel Sans Pro" panose="02000000000000000000" pitchFamily="50" charset="0"/>
              </a:rPr>
              <a:t>Einfluss</a:t>
            </a:r>
            <a:r>
              <a:rPr lang="de-DE" sz="600" b="0" dirty="0">
                <a:solidFill>
                  <a:srgbClr val="0A4E78"/>
                </a:solidFill>
                <a:latin typeface="+mn-lt"/>
                <a:ea typeface="+mn-ea"/>
                <a:cs typeface="+mn-cs"/>
                <a:sym typeface="Novel Sans Pro" panose="02000000000000000000" pitchFamily="50" charset="0"/>
              </a:rPr>
              <a:t> auf die Analysen und </a:t>
            </a:r>
            <a:r>
              <a:rPr lang="de-DE" sz="600" b="0" dirty="0" err="1">
                <a:solidFill>
                  <a:srgbClr val="0A4E78"/>
                </a:solidFill>
                <a:latin typeface="+mn-lt"/>
                <a:ea typeface="+mn-ea"/>
                <a:cs typeface="+mn-cs"/>
                <a:sym typeface="Novel Sans Pro" panose="02000000000000000000" pitchFamily="50" charset="0"/>
              </a:rPr>
              <a:t>Schlussfolgerungen</a:t>
            </a:r>
            <a:r>
              <a:rPr lang="de-DE" sz="600" b="0" dirty="0">
                <a:solidFill>
                  <a:srgbClr val="0A4E78"/>
                </a:solidFill>
                <a:latin typeface="+mn-lt"/>
                <a:ea typeface="+mn-ea"/>
                <a:cs typeface="+mn-cs"/>
                <a:sym typeface="Novel Sans Pro" panose="02000000000000000000" pitchFamily="50" charset="0"/>
              </a:rPr>
              <a:t> haben.</a:t>
            </a:r>
          </a:p>
        </p:txBody>
      </p:sp>
      <p:sp>
        <p:nvSpPr>
          <p:cNvPr id="8" name="Title 6">
            <a:extLst>
              <a:ext uri="{FF2B5EF4-FFF2-40B4-BE49-F238E27FC236}">
                <a16:creationId xmlns:a16="http://schemas.microsoft.com/office/drawing/2014/main" id="{93B26FD2-05CB-442A-9BBC-F488158417AF}"/>
              </a:ext>
            </a:extLst>
          </p:cNvPr>
          <p:cNvSpPr txBox="1">
            <a:spLocks/>
          </p:cNvSpPr>
          <p:nvPr userDrawn="1"/>
        </p:nvSpPr>
        <p:spPr>
          <a:xfrm>
            <a:off x="639044" y="2522306"/>
            <a:ext cx="2564804" cy="56938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de-DE" sz="4000" i="1" dirty="0">
                <a:solidFill>
                  <a:srgbClr val="0A4E78"/>
                </a:solidFill>
                <a:latin typeface="+mn-lt"/>
                <a:ea typeface="+mn-ea"/>
                <a:cs typeface="+mn-cs"/>
                <a:sym typeface="Novel Sans Pro" panose="02000000000000000000" pitchFamily="50" charset="0"/>
              </a:rPr>
              <a:t>Disclaimer</a:t>
            </a:r>
          </a:p>
        </p:txBody>
      </p:sp>
      <p:cxnSp>
        <p:nvCxnSpPr>
          <p:cNvPr id="13" name="Straight Connector 12">
            <a:extLst>
              <a:ext uri="{FF2B5EF4-FFF2-40B4-BE49-F238E27FC236}">
                <a16:creationId xmlns:a16="http://schemas.microsoft.com/office/drawing/2014/main" id="{D7820240-8707-44A9-8AB8-18A3131C7652}"/>
              </a:ext>
            </a:extLst>
          </p:cNvPr>
          <p:cNvCxnSpPr/>
          <p:nvPr userDrawn="1"/>
        </p:nvCxnSpPr>
        <p:spPr>
          <a:xfrm>
            <a:off x="3563888" y="1554567"/>
            <a:ext cx="0" cy="2504864"/>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93FAFF1B-D956-4471-BB52-D92DC585A7A8}"/>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Copyright" hidden="1">
            <a:extLst>
              <a:ext uri="{FF2B5EF4-FFF2-40B4-BE49-F238E27FC236}">
                <a16:creationId xmlns:a16="http://schemas.microsoft.com/office/drawing/2014/main" id="{26D278C2-CEDE-4742-B054-F2FB6D9BD1BF}"/>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0" name="Rectangle 9">
            <a:extLst>
              <a:ext uri="{FF2B5EF4-FFF2-40B4-BE49-F238E27FC236}">
                <a16:creationId xmlns:a16="http://schemas.microsoft.com/office/drawing/2014/main" id="{252D20E7-8561-44E5-A0F4-72EFFCC94D06}"/>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2488071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 Title Only">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82192A1-7766-4950-BE5A-5AD7378B7155}"/>
              </a:ext>
            </a:extLst>
          </p:cNvPr>
          <p:cNvGraphicFramePr>
            <a:graphicFrameLocks noChangeAspect="1"/>
          </p:cNvGraphicFramePr>
          <p:nvPr userDrawn="1">
            <p:custDataLst>
              <p:tags r:id="rId2"/>
            </p:custDataLst>
            <p:extLst>
              <p:ext uri="{D42A27DB-BD31-4B8C-83A1-F6EECF244321}">
                <p14:modId xmlns:p14="http://schemas.microsoft.com/office/powerpoint/2010/main" val="3625561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4"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graphical user interface&#10;&#10;Description automatically generated">
            <a:extLst>
              <a:ext uri="{FF2B5EF4-FFF2-40B4-BE49-F238E27FC236}">
                <a16:creationId xmlns:a16="http://schemas.microsoft.com/office/drawing/2014/main" id="{2E379756-2EEA-40C6-A5C5-FD254C77EA26}"/>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Copyright" hidden="1">
            <a:extLst>
              <a:ext uri="{FF2B5EF4-FFF2-40B4-BE49-F238E27FC236}">
                <a16:creationId xmlns:a16="http://schemas.microsoft.com/office/drawing/2014/main" id="{645EE900-EA66-4D87-A1DF-F885C825BB7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4" name="Title 3">
            <a:extLst>
              <a:ext uri="{FF2B5EF4-FFF2-40B4-BE49-F238E27FC236}">
                <a16:creationId xmlns:a16="http://schemas.microsoft.com/office/drawing/2014/main" id="{47E22084-FC96-4C44-96A4-987F2E51261E}"/>
              </a:ext>
            </a:extLst>
          </p:cNvPr>
          <p:cNvSpPr>
            <a:spLocks noGrp="1"/>
          </p:cNvSpPr>
          <p:nvPr>
            <p:ph type="title"/>
          </p:nvPr>
        </p:nvSpPr>
        <p:spPr/>
        <p:txBody>
          <a:bodyPr vert="horz"/>
          <a:lstStyle>
            <a:lvl1pPr rtl="0">
              <a:defRPr>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edit</a:t>
            </a:r>
            <a:r>
              <a:rPr lang="de-DE" dirty="0"/>
              <a:t> Master title style</a:t>
            </a:r>
          </a:p>
        </p:txBody>
      </p:sp>
      <p:sp>
        <p:nvSpPr>
          <p:cNvPr id="11" name="Rectangle 10">
            <a:extLst>
              <a:ext uri="{FF2B5EF4-FFF2-40B4-BE49-F238E27FC236}">
                <a16:creationId xmlns:a16="http://schemas.microsoft.com/office/drawing/2014/main" id="{C07E8A98-1986-4C40-B897-243196378397}"/>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4033391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6495699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31772"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5F502EBC-F782-4810-B602-02122AB7E16C}"/>
              </a:ext>
            </a:extLst>
          </p:cNvPr>
          <p:cNvSpPr/>
          <p:nvPr userDrawn="1"/>
        </p:nvSpPr>
        <p:spPr bwMode="auto">
          <a:xfrm>
            <a:off x="7956377" y="0"/>
            <a:ext cx="254632" cy="5143500"/>
          </a:xfrm>
          <a:prstGeom prst="rect">
            <a:avLst/>
          </a:prstGeom>
          <a:gradFill flip="none" rotWithShape="1">
            <a:gsLst>
              <a:gs pos="53000">
                <a:srgbClr val="DAE2EA"/>
              </a:gs>
              <a:gs pos="2000">
                <a:srgbClr val="92ABC1"/>
              </a:gs>
              <a:gs pos="84000">
                <a:schemeClr val="accent3"/>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1" name="Rectangle 10">
            <a:extLst>
              <a:ext uri="{FF2B5EF4-FFF2-40B4-BE49-F238E27FC236}">
                <a16:creationId xmlns:a16="http://schemas.microsoft.com/office/drawing/2014/main" id="{8634D84A-3E00-45F5-8301-73EF0B095040}"/>
              </a:ext>
            </a:extLst>
          </p:cNvPr>
          <p:cNvSpPr/>
          <p:nvPr userDrawn="1"/>
        </p:nvSpPr>
        <p:spPr>
          <a:xfrm>
            <a:off x="0" y="0"/>
            <a:ext cx="7968343"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2" name="Rectangle 11">
            <a:extLst>
              <a:ext uri="{FF2B5EF4-FFF2-40B4-BE49-F238E27FC236}">
                <a16:creationId xmlns:a16="http://schemas.microsoft.com/office/drawing/2014/main" id="{8A2E4398-D083-4356-BD66-691E310B4F60}"/>
              </a:ext>
            </a:extLst>
          </p:cNvPr>
          <p:cNvSpPr/>
          <p:nvPr userDrawn="1"/>
        </p:nvSpPr>
        <p:spPr>
          <a:xfrm>
            <a:off x="755576" y="1052847"/>
            <a:ext cx="6318068" cy="4093394"/>
          </a:xfrm>
          <a:prstGeom prst="rect">
            <a:avLst/>
          </a:prstGeom>
          <a:gradFill flip="none" rotWithShape="1">
            <a:gsLst>
              <a:gs pos="53000">
                <a:srgbClr val="DAE2EA"/>
              </a:gs>
              <a:gs pos="4000">
                <a:srgbClr val="7AA1BC"/>
              </a:gs>
              <a:gs pos="92000">
                <a:schemeClr val="bg1"/>
              </a:gs>
            </a:gsLst>
            <a:lin ang="162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buFont typeface="Novel Sans Pro" panose="02000000000000000000" pitchFamily="50" charset="0"/>
            </a:pPr>
            <a:endParaRPr lang="de-DE" sz="1200" dirty="0">
              <a:solidFill>
                <a:srgbClr val="000000"/>
              </a:solidFill>
              <a:latin typeface="+mn-lt"/>
              <a:ea typeface="+mn-ea"/>
              <a:cs typeface="+mn-cs"/>
              <a:sym typeface="Novel Sans Pro" panose="02000000000000000000" pitchFamily="50" charset="0"/>
            </a:endParaRPr>
          </a:p>
        </p:txBody>
      </p:sp>
      <p:pic>
        <p:nvPicPr>
          <p:cNvPr id="13" name="Picture 12" descr="Text&#10;&#10;Description automatically generated">
            <a:extLst>
              <a:ext uri="{FF2B5EF4-FFF2-40B4-BE49-F238E27FC236}">
                <a16:creationId xmlns:a16="http://schemas.microsoft.com/office/drawing/2014/main" id="{E12DCD29-598C-4746-B9B4-5B974395F304}"/>
              </a:ext>
            </a:extLst>
          </p:cNvPr>
          <p:cNvPicPr>
            <a:picLocks noChangeAspect="1"/>
          </p:cNvPicPr>
          <p:nvPr userDrawn="1"/>
        </p:nvPicPr>
        <p:blipFill>
          <a:blip r:embed="rId6">
            <a:clrChange>
              <a:clrFrom>
                <a:srgbClr val="FFFEFD"/>
              </a:clrFrom>
              <a:clrTo>
                <a:srgbClr val="FFFEFD">
                  <a:alpha val="0"/>
                </a:srgbClr>
              </a:clrTo>
            </a:clrChange>
          </a:blip>
          <a:stretch>
            <a:fillRect/>
          </a:stretch>
        </p:blipFill>
        <p:spPr>
          <a:xfrm>
            <a:off x="1303514" y="1803400"/>
            <a:ext cx="4651164" cy="1866557"/>
          </a:xfrm>
          <a:prstGeom prst="rect">
            <a:avLst/>
          </a:prstGeom>
        </p:spPr>
      </p:pic>
    </p:spTree>
    <p:extLst>
      <p:ext uri="{BB962C8B-B14F-4D97-AF65-F5344CB8AC3E}">
        <p14:creationId xmlns:p14="http://schemas.microsoft.com/office/powerpoint/2010/main" val="2788936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 Layout guide">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7FC71B8-8913-495A-AB7C-E9730BDD4C04}"/>
              </a:ext>
            </a:extLst>
          </p:cNvPr>
          <p:cNvGraphicFramePr>
            <a:graphicFrameLocks noChangeAspect="1"/>
          </p:cNvGraphicFramePr>
          <p:nvPr userDrawn="1">
            <p:custDataLst>
              <p:tags r:id="rId2"/>
            </p:custDataLst>
            <p:extLst>
              <p:ext uri="{D42A27DB-BD31-4B8C-83A1-F6EECF244321}">
                <p14:modId xmlns:p14="http://schemas.microsoft.com/office/powerpoint/2010/main" val="15680851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96"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E7FC71B8-8913-495A-AB7C-E9730BDD4C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7" name="Copyright" hidden="1">
            <a:extLst>
              <a:ext uri="{FF2B5EF4-FFF2-40B4-BE49-F238E27FC236}">
                <a16:creationId xmlns:a16="http://schemas.microsoft.com/office/drawing/2014/main" id="{6A95985D-51E7-42FC-9F57-99DA89722303}"/>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grpSp>
        <p:nvGrpSpPr>
          <p:cNvPr id="149" name="Group 148">
            <a:extLst>
              <a:ext uri="{FF2B5EF4-FFF2-40B4-BE49-F238E27FC236}">
                <a16:creationId xmlns:a16="http://schemas.microsoft.com/office/drawing/2014/main" id="{4A61E4A8-5EED-433B-A34A-FCE62673FAA9}"/>
              </a:ext>
            </a:extLst>
          </p:cNvPr>
          <p:cNvGrpSpPr/>
          <p:nvPr userDrawn="1"/>
        </p:nvGrpSpPr>
        <p:grpSpPr>
          <a:xfrm>
            <a:off x="-450" y="-2432"/>
            <a:ext cx="9144900" cy="5145932"/>
            <a:chOff x="-450" y="-2432"/>
            <a:chExt cx="9144900" cy="5145932"/>
          </a:xfrm>
        </p:grpSpPr>
        <p:grpSp>
          <p:nvGrpSpPr>
            <p:cNvPr id="150" name="Group 149">
              <a:extLst>
                <a:ext uri="{FF2B5EF4-FFF2-40B4-BE49-F238E27FC236}">
                  <a16:creationId xmlns:a16="http://schemas.microsoft.com/office/drawing/2014/main" id="{CAEA2D5E-52A1-4918-8C5B-C8FC75E79996}"/>
                </a:ext>
              </a:extLst>
            </p:cNvPr>
            <p:cNvGrpSpPr/>
            <p:nvPr userDrawn="1"/>
          </p:nvGrpSpPr>
          <p:grpSpPr>
            <a:xfrm>
              <a:off x="-450" y="289560"/>
              <a:ext cx="9144900" cy="4298414"/>
              <a:chOff x="-450" y="467100"/>
              <a:chExt cx="9144900" cy="3934049"/>
            </a:xfrm>
          </p:grpSpPr>
          <p:cxnSp>
            <p:nvCxnSpPr>
              <p:cNvPr id="181" name="Straight Connector 180">
                <a:extLst>
                  <a:ext uri="{FF2B5EF4-FFF2-40B4-BE49-F238E27FC236}">
                    <a16:creationId xmlns:a16="http://schemas.microsoft.com/office/drawing/2014/main" id="{64E4872E-46F6-4030-BE3F-C068F202EA9B}"/>
                  </a:ext>
                </a:extLst>
              </p:cNvPr>
              <p:cNvCxnSpPr/>
              <p:nvPr/>
            </p:nvCxnSpPr>
            <p:spPr>
              <a:xfrm>
                <a:off x="-450" y="46710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DE285E8D-82E5-49AF-AEDF-DCAD94C8F7F4}"/>
                  </a:ext>
                </a:extLst>
              </p:cNvPr>
              <p:cNvCxnSpPr/>
              <p:nvPr/>
            </p:nvCxnSpPr>
            <p:spPr>
              <a:xfrm>
                <a:off x="-450" y="685658"/>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a:extLst>
                  <a:ext uri="{FF2B5EF4-FFF2-40B4-BE49-F238E27FC236}">
                    <a16:creationId xmlns:a16="http://schemas.microsoft.com/office/drawing/2014/main" id="{22D55150-01AD-41EA-87D8-8F9CC683D3DD}"/>
                  </a:ext>
                </a:extLst>
              </p:cNvPr>
              <p:cNvCxnSpPr/>
              <p:nvPr/>
            </p:nvCxnSpPr>
            <p:spPr>
              <a:xfrm>
                <a:off x="-450" y="90421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a:extLst>
                  <a:ext uri="{FF2B5EF4-FFF2-40B4-BE49-F238E27FC236}">
                    <a16:creationId xmlns:a16="http://schemas.microsoft.com/office/drawing/2014/main" id="{4A7BAA0F-9E44-4E01-B6CF-C0457BDE9A9C}"/>
                  </a:ext>
                </a:extLst>
              </p:cNvPr>
              <p:cNvCxnSpPr/>
              <p:nvPr/>
            </p:nvCxnSpPr>
            <p:spPr>
              <a:xfrm>
                <a:off x="-450" y="112320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a:extLst>
                  <a:ext uri="{FF2B5EF4-FFF2-40B4-BE49-F238E27FC236}">
                    <a16:creationId xmlns:a16="http://schemas.microsoft.com/office/drawing/2014/main" id="{8940DA22-DD4B-41C7-8AFE-5E49E06F02EC}"/>
                  </a:ext>
                </a:extLst>
              </p:cNvPr>
              <p:cNvCxnSpPr/>
              <p:nvPr/>
            </p:nvCxnSpPr>
            <p:spPr>
              <a:xfrm>
                <a:off x="-450" y="134133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a:extLst>
                  <a:ext uri="{FF2B5EF4-FFF2-40B4-BE49-F238E27FC236}">
                    <a16:creationId xmlns:a16="http://schemas.microsoft.com/office/drawing/2014/main" id="{C4A54148-977C-4013-A9F6-A4EC7605A34F}"/>
                  </a:ext>
                </a:extLst>
              </p:cNvPr>
              <p:cNvCxnSpPr/>
              <p:nvPr/>
            </p:nvCxnSpPr>
            <p:spPr>
              <a:xfrm>
                <a:off x="-450" y="155989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7F939E58-F57B-492B-BDF1-CD32CF5484A9}"/>
                  </a:ext>
                </a:extLst>
              </p:cNvPr>
              <p:cNvCxnSpPr/>
              <p:nvPr/>
            </p:nvCxnSpPr>
            <p:spPr>
              <a:xfrm>
                <a:off x="-450" y="177845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a:extLst>
                  <a:ext uri="{FF2B5EF4-FFF2-40B4-BE49-F238E27FC236}">
                    <a16:creationId xmlns:a16="http://schemas.microsoft.com/office/drawing/2014/main" id="{528AD0DF-DA54-434F-9738-6A746C99D4BF}"/>
                  </a:ext>
                </a:extLst>
              </p:cNvPr>
              <p:cNvCxnSpPr/>
              <p:nvPr/>
            </p:nvCxnSpPr>
            <p:spPr>
              <a:xfrm>
                <a:off x="-450" y="1997008"/>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EE63F4DA-82C8-425F-A658-4F6B5E0890A8}"/>
                  </a:ext>
                </a:extLst>
              </p:cNvPr>
              <p:cNvCxnSpPr/>
              <p:nvPr/>
            </p:nvCxnSpPr>
            <p:spPr>
              <a:xfrm>
                <a:off x="-450" y="221556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0" name="Straight Connector 189">
                <a:extLst>
                  <a:ext uri="{FF2B5EF4-FFF2-40B4-BE49-F238E27FC236}">
                    <a16:creationId xmlns:a16="http://schemas.microsoft.com/office/drawing/2014/main" id="{9671A509-4956-484D-9AE5-8941E20A6A70}"/>
                  </a:ext>
                </a:extLst>
              </p:cNvPr>
              <p:cNvCxnSpPr/>
              <p:nvPr/>
            </p:nvCxnSpPr>
            <p:spPr>
              <a:xfrm>
                <a:off x="-450" y="2434124"/>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1" name="Straight Connector 190">
                <a:extLst>
                  <a:ext uri="{FF2B5EF4-FFF2-40B4-BE49-F238E27FC236}">
                    <a16:creationId xmlns:a16="http://schemas.microsoft.com/office/drawing/2014/main" id="{F8D215F9-DCAA-4643-91F9-28F82ED851A9}"/>
                  </a:ext>
                </a:extLst>
              </p:cNvPr>
              <p:cNvCxnSpPr/>
              <p:nvPr/>
            </p:nvCxnSpPr>
            <p:spPr>
              <a:xfrm>
                <a:off x="-450" y="265268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7B334F6E-373C-4B2B-8BBA-0422E9466946}"/>
                  </a:ext>
                </a:extLst>
              </p:cNvPr>
              <p:cNvCxnSpPr/>
              <p:nvPr/>
            </p:nvCxnSpPr>
            <p:spPr>
              <a:xfrm>
                <a:off x="-450" y="287124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3" name="Straight Connector 192">
                <a:extLst>
                  <a:ext uri="{FF2B5EF4-FFF2-40B4-BE49-F238E27FC236}">
                    <a16:creationId xmlns:a16="http://schemas.microsoft.com/office/drawing/2014/main" id="{CB6048F1-E45F-4A2E-9658-A8A4AA05CB25}"/>
                  </a:ext>
                </a:extLst>
              </p:cNvPr>
              <p:cNvCxnSpPr/>
              <p:nvPr/>
            </p:nvCxnSpPr>
            <p:spPr>
              <a:xfrm>
                <a:off x="-450" y="308979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4" name="Straight Connector 193">
                <a:extLst>
                  <a:ext uri="{FF2B5EF4-FFF2-40B4-BE49-F238E27FC236}">
                    <a16:creationId xmlns:a16="http://schemas.microsoft.com/office/drawing/2014/main" id="{5B6BF3CE-4A9F-4AE0-9874-D9932F12A508}"/>
                  </a:ext>
                </a:extLst>
              </p:cNvPr>
              <p:cNvCxnSpPr/>
              <p:nvPr/>
            </p:nvCxnSpPr>
            <p:spPr>
              <a:xfrm>
                <a:off x="-450" y="330835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5" name="Straight Connector 194">
                <a:extLst>
                  <a:ext uri="{FF2B5EF4-FFF2-40B4-BE49-F238E27FC236}">
                    <a16:creationId xmlns:a16="http://schemas.microsoft.com/office/drawing/2014/main" id="{E7E935B9-98C0-4FD3-8416-364BB094D7BC}"/>
                  </a:ext>
                </a:extLst>
              </p:cNvPr>
              <p:cNvCxnSpPr/>
              <p:nvPr/>
            </p:nvCxnSpPr>
            <p:spPr>
              <a:xfrm>
                <a:off x="-450" y="352691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A2C2DB1F-9A27-4BA5-8695-16B40C841089}"/>
                  </a:ext>
                </a:extLst>
              </p:cNvPr>
              <p:cNvCxnSpPr/>
              <p:nvPr/>
            </p:nvCxnSpPr>
            <p:spPr>
              <a:xfrm>
                <a:off x="-450" y="3745474"/>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7" name="Straight Connector 196">
                <a:extLst>
                  <a:ext uri="{FF2B5EF4-FFF2-40B4-BE49-F238E27FC236}">
                    <a16:creationId xmlns:a16="http://schemas.microsoft.com/office/drawing/2014/main" id="{8C755983-B629-4594-AA52-7AC3C82C8C95}"/>
                  </a:ext>
                </a:extLst>
              </p:cNvPr>
              <p:cNvCxnSpPr/>
              <p:nvPr/>
            </p:nvCxnSpPr>
            <p:spPr>
              <a:xfrm>
                <a:off x="-450" y="3964032"/>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8" name="Straight Connector 197">
                <a:extLst>
                  <a:ext uri="{FF2B5EF4-FFF2-40B4-BE49-F238E27FC236}">
                    <a16:creationId xmlns:a16="http://schemas.microsoft.com/office/drawing/2014/main" id="{2CBB6A77-4906-4ABE-9ED1-B38F4415BB80}"/>
                  </a:ext>
                </a:extLst>
              </p:cNvPr>
              <p:cNvCxnSpPr/>
              <p:nvPr/>
            </p:nvCxnSpPr>
            <p:spPr>
              <a:xfrm>
                <a:off x="-450" y="418259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E1EC36B7-4E46-490A-85B3-E0C5417CCC71}"/>
                  </a:ext>
                </a:extLst>
              </p:cNvPr>
              <p:cNvCxnSpPr/>
              <p:nvPr/>
            </p:nvCxnSpPr>
            <p:spPr>
              <a:xfrm>
                <a:off x="-450" y="440114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51" name="Gutter space">
              <a:extLst>
                <a:ext uri="{FF2B5EF4-FFF2-40B4-BE49-F238E27FC236}">
                  <a16:creationId xmlns:a16="http://schemas.microsoft.com/office/drawing/2014/main" id="{B43BB4BD-7315-4C8E-8D12-618F95B6EF2D}"/>
                </a:ext>
              </a:extLst>
            </p:cNvPr>
            <p:cNvGrpSpPr/>
            <p:nvPr userDrawn="1"/>
          </p:nvGrpSpPr>
          <p:grpSpPr>
            <a:xfrm>
              <a:off x="957750" y="267494"/>
              <a:ext cx="7228500" cy="4320381"/>
              <a:chOff x="1277000" y="623550"/>
              <a:chExt cx="9638000" cy="5537047"/>
            </a:xfrm>
          </p:grpSpPr>
          <p:sp>
            <p:nvSpPr>
              <p:cNvPr id="170" name="Rectangle 34">
                <a:extLst>
                  <a:ext uri="{FF2B5EF4-FFF2-40B4-BE49-F238E27FC236}">
                    <a16:creationId xmlns:a16="http://schemas.microsoft.com/office/drawing/2014/main" id="{132DFAD3-DABD-435B-9157-3DC088868408}"/>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1" name="Rectangle 35">
                <a:extLst>
                  <a:ext uri="{FF2B5EF4-FFF2-40B4-BE49-F238E27FC236}">
                    <a16:creationId xmlns:a16="http://schemas.microsoft.com/office/drawing/2014/main" id="{CB6F57C8-899E-403A-B0A2-F807F5C64B40}"/>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2" name="Rectangle 36">
                <a:extLst>
                  <a:ext uri="{FF2B5EF4-FFF2-40B4-BE49-F238E27FC236}">
                    <a16:creationId xmlns:a16="http://schemas.microsoft.com/office/drawing/2014/main" id="{11D9AB54-8B25-458B-ACEE-0E931A21BF8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3" name="Rectangle 37">
                <a:extLst>
                  <a:ext uri="{FF2B5EF4-FFF2-40B4-BE49-F238E27FC236}">
                    <a16:creationId xmlns:a16="http://schemas.microsoft.com/office/drawing/2014/main" id="{82EC051B-ED93-4EDD-9ECF-36BFBF40E356}"/>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4" name="Rectangle 38">
                <a:extLst>
                  <a:ext uri="{FF2B5EF4-FFF2-40B4-BE49-F238E27FC236}">
                    <a16:creationId xmlns:a16="http://schemas.microsoft.com/office/drawing/2014/main" id="{6BFE63D4-379E-42FB-A623-E33FCF577BB4}"/>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5" name="Rectangle 39">
                <a:extLst>
                  <a:ext uri="{FF2B5EF4-FFF2-40B4-BE49-F238E27FC236}">
                    <a16:creationId xmlns:a16="http://schemas.microsoft.com/office/drawing/2014/main" id="{A994301B-1A3B-4B08-8CA3-09BBB2C45788}"/>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6" name="Rectangle 40">
                <a:extLst>
                  <a:ext uri="{FF2B5EF4-FFF2-40B4-BE49-F238E27FC236}">
                    <a16:creationId xmlns:a16="http://schemas.microsoft.com/office/drawing/2014/main" id="{535A2809-2AEF-4682-86DF-DC2768135217}"/>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7" name="Rectangle 41">
                <a:extLst>
                  <a:ext uri="{FF2B5EF4-FFF2-40B4-BE49-F238E27FC236}">
                    <a16:creationId xmlns:a16="http://schemas.microsoft.com/office/drawing/2014/main" id="{662CD1AF-F253-4DF2-8453-E9EB8C89DDC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8" name="Rectangle 42">
                <a:extLst>
                  <a:ext uri="{FF2B5EF4-FFF2-40B4-BE49-F238E27FC236}">
                    <a16:creationId xmlns:a16="http://schemas.microsoft.com/office/drawing/2014/main" id="{AB306AF8-BE64-41A8-B673-D19FE39D2310}"/>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79" name="Rectangle 43">
                <a:extLst>
                  <a:ext uri="{FF2B5EF4-FFF2-40B4-BE49-F238E27FC236}">
                    <a16:creationId xmlns:a16="http://schemas.microsoft.com/office/drawing/2014/main" id="{4DF5F3E4-AD9A-4B8A-8438-733C4531B875}"/>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80" name="Rectangle 44">
                <a:extLst>
                  <a:ext uri="{FF2B5EF4-FFF2-40B4-BE49-F238E27FC236}">
                    <a16:creationId xmlns:a16="http://schemas.microsoft.com/office/drawing/2014/main" id="{8375A183-6F8E-43A0-BC43-5A28ABD4A67F}"/>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sp>
          <p:nvSpPr>
            <p:cNvPr id="152" name="Slide edges">
              <a:extLst>
                <a:ext uri="{FF2B5EF4-FFF2-40B4-BE49-F238E27FC236}">
                  <a16:creationId xmlns:a16="http://schemas.microsoft.com/office/drawing/2014/main" id="{22C66B54-E9CE-44C7-B3DD-850523E037EB}"/>
                </a:ext>
              </a:extLst>
            </p:cNvPr>
            <p:cNvSpPr>
              <a:spLocks/>
            </p:cNvSpPr>
            <p:nvPr userDrawn="1"/>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dirty="0">
                <a:ln>
                  <a:noFill/>
                </a:ln>
                <a:solidFill>
                  <a:srgbClr val="575757"/>
                </a:solidFill>
                <a:effectLst/>
                <a:uLnTx/>
                <a:uFillTx/>
                <a:latin typeface="+mn-lt"/>
                <a:ea typeface="+mn-ea"/>
                <a:cs typeface="+mn-cs"/>
                <a:sym typeface="Novel Sans Pro" panose="02000000000000000000" pitchFamily="50" charset="0"/>
              </a:endParaRPr>
            </a:p>
          </p:txBody>
        </p:sp>
        <p:sp>
          <p:nvSpPr>
            <p:cNvPr id="153" name="Footnote measure">
              <a:extLst>
                <a:ext uri="{FF2B5EF4-FFF2-40B4-BE49-F238E27FC236}">
                  <a16:creationId xmlns:a16="http://schemas.microsoft.com/office/drawing/2014/main" id="{11248AFD-3887-4BDC-BC8E-BEBAA9B37721}"/>
                </a:ext>
              </a:extLst>
            </p:cNvPr>
            <p:cNvSpPr>
              <a:spLocks noChangeArrowheads="1"/>
            </p:cNvSpPr>
            <p:nvPr userDrawn="1"/>
          </p:nvSpPr>
          <p:spPr bwMode="auto">
            <a:xfrm>
              <a:off x="472050" y="4586794"/>
              <a:ext cx="8199900" cy="33239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54" name="Whitespace measure">
              <a:extLst>
                <a:ext uri="{FF2B5EF4-FFF2-40B4-BE49-F238E27FC236}">
                  <a16:creationId xmlns:a16="http://schemas.microsoft.com/office/drawing/2014/main" id="{5F6937E2-98DB-4427-9B42-F4C91BE0A212}"/>
                </a:ext>
              </a:extLst>
            </p:cNvPr>
            <p:cNvSpPr>
              <a:spLocks noChangeArrowheads="1"/>
            </p:cNvSpPr>
            <p:nvPr userDrawn="1"/>
          </p:nvSpPr>
          <p:spPr bwMode="auto">
            <a:xfrm>
              <a:off x="472050" y="1123200"/>
              <a:ext cx="8199172"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nvGrpSpPr>
            <p:cNvPr id="155" name="Five column measure">
              <a:extLst>
                <a:ext uri="{FF2B5EF4-FFF2-40B4-BE49-F238E27FC236}">
                  <a16:creationId xmlns:a16="http://schemas.microsoft.com/office/drawing/2014/main" id="{48B3211C-E76A-4174-8A6C-2EBF72C6D7AB}"/>
                </a:ext>
              </a:extLst>
            </p:cNvPr>
            <p:cNvGrpSpPr/>
            <p:nvPr userDrawn="1"/>
          </p:nvGrpSpPr>
          <p:grpSpPr>
            <a:xfrm>
              <a:off x="472050" y="4481341"/>
              <a:ext cx="8199900" cy="59652"/>
              <a:chOff x="629400" y="5975122"/>
              <a:chExt cx="10933200" cy="79536"/>
            </a:xfrm>
          </p:grpSpPr>
          <p:sp>
            <p:nvSpPr>
              <p:cNvPr id="165" name="Rectangle 5">
                <a:extLst>
                  <a:ext uri="{FF2B5EF4-FFF2-40B4-BE49-F238E27FC236}">
                    <a16:creationId xmlns:a16="http://schemas.microsoft.com/office/drawing/2014/main" id="{C4225C8C-EFC0-4C87-9641-CC7C73B8AB23}"/>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66" name="Rectangle 7">
                <a:extLst>
                  <a:ext uri="{FF2B5EF4-FFF2-40B4-BE49-F238E27FC236}">
                    <a16:creationId xmlns:a16="http://schemas.microsoft.com/office/drawing/2014/main" id="{30A354EA-E08F-4CB9-AE52-CBAE14D5CEBC}"/>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67" name="Rectangle 9">
                <a:extLst>
                  <a:ext uri="{FF2B5EF4-FFF2-40B4-BE49-F238E27FC236}">
                    <a16:creationId xmlns:a16="http://schemas.microsoft.com/office/drawing/2014/main" id="{7935F349-23F1-44E5-AB15-5EFEA169D545}"/>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68" name="Rectangle 11">
                <a:extLst>
                  <a:ext uri="{FF2B5EF4-FFF2-40B4-BE49-F238E27FC236}">
                    <a16:creationId xmlns:a16="http://schemas.microsoft.com/office/drawing/2014/main" id="{4067099C-823D-4807-8392-7AE08D93A58C}"/>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169" name="Rectangle 13">
                <a:extLst>
                  <a:ext uri="{FF2B5EF4-FFF2-40B4-BE49-F238E27FC236}">
                    <a16:creationId xmlns:a16="http://schemas.microsoft.com/office/drawing/2014/main" id="{6EED03DB-1B5F-47E6-83A1-45FE3A7FF42F}"/>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sp>
          <p:nvSpPr>
            <p:cNvPr id="156" name="Live area">
              <a:extLst>
                <a:ext uri="{FF2B5EF4-FFF2-40B4-BE49-F238E27FC236}">
                  <a16:creationId xmlns:a16="http://schemas.microsoft.com/office/drawing/2014/main" id="{26EAB149-F996-4111-9BE6-3806018A5EC7}"/>
                </a:ext>
              </a:extLst>
            </p:cNvPr>
            <p:cNvSpPr/>
            <p:nvPr userDrawn="1"/>
          </p:nvSpPr>
          <p:spPr>
            <a:xfrm>
              <a:off x="472050" y="1560601"/>
              <a:ext cx="8381448" cy="303150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157" name="Footnote example">
              <a:extLst>
                <a:ext uri="{FF2B5EF4-FFF2-40B4-BE49-F238E27FC236}">
                  <a16:creationId xmlns:a16="http://schemas.microsoft.com/office/drawing/2014/main" id="{F250A046-E564-4239-BD0D-D07FF90D6E35}"/>
                </a:ext>
              </a:extLst>
            </p:cNvPr>
            <p:cNvSpPr txBox="1"/>
            <p:nvPr userDrawn="1"/>
          </p:nvSpPr>
          <p:spPr>
            <a:xfrm>
              <a:off x="472500" y="4507980"/>
              <a:ext cx="7627892" cy="3323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1.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  2.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  3. 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Anmerkung: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endPar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Quelle: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endPar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endParaRPr>
            </a:p>
          </p:txBody>
        </p:sp>
        <p:pic>
          <p:nvPicPr>
            <p:cNvPr id="158" name="Picture 157" descr="A picture containing graphical user interface&#10;&#10;Description automatically generated">
              <a:extLst>
                <a:ext uri="{FF2B5EF4-FFF2-40B4-BE49-F238E27FC236}">
                  <a16:creationId xmlns:a16="http://schemas.microsoft.com/office/drawing/2014/main" id="{5DEEAF8E-C16C-4083-8589-B2926983EEF8}"/>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59" name="Rectangle 158">
              <a:extLst>
                <a:ext uri="{FF2B5EF4-FFF2-40B4-BE49-F238E27FC236}">
                  <a16:creationId xmlns:a16="http://schemas.microsoft.com/office/drawing/2014/main" id="{B3345378-0934-4019-90E7-07D7509C2E1D}"/>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60" name="Rectangle 159">
              <a:extLst>
                <a:ext uri="{FF2B5EF4-FFF2-40B4-BE49-F238E27FC236}">
                  <a16:creationId xmlns:a16="http://schemas.microsoft.com/office/drawing/2014/main" id="{B06D630F-9E43-4BC1-BE2E-8DA807DA93C7}"/>
                </a:ext>
              </a:extLst>
            </p:cNvPr>
            <p:cNvSpPr/>
            <p:nvPr userDrawn="1"/>
          </p:nvSpPr>
          <p:spPr bwMode="auto">
            <a:xfrm>
              <a:off x="0" y="0"/>
              <a:ext cx="467544" cy="5143500"/>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61" name="Rectangle 160">
              <a:extLst>
                <a:ext uri="{FF2B5EF4-FFF2-40B4-BE49-F238E27FC236}">
                  <a16:creationId xmlns:a16="http://schemas.microsoft.com/office/drawing/2014/main" id="{B14F0FC3-E1D0-4CDF-A8EC-C6CE62975484}"/>
                </a:ext>
              </a:extLst>
            </p:cNvPr>
            <p:cNvSpPr/>
            <p:nvPr userDrawn="1"/>
          </p:nvSpPr>
          <p:spPr bwMode="auto">
            <a:xfrm>
              <a:off x="8852724" y="0"/>
              <a:ext cx="291276" cy="5143500"/>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62" name="Rectangle 161">
              <a:extLst>
                <a:ext uri="{FF2B5EF4-FFF2-40B4-BE49-F238E27FC236}">
                  <a16:creationId xmlns:a16="http://schemas.microsoft.com/office/drawing/2014/main" id="{671FFE71-7F76-494F-8025-35B99D645FF3}"/>
                </a:ext>
              </a:extLst>
            </p:cNvPr>
            <p:cNvSpPr/>
            <p:nvPr userDrawn="1"/>
          </p:nvSpPr>
          <p:spPr bwMode="auto">
            <a:xfrm>
              <a:off x="467544" y="0"/>
              <a:ext cx="8381448" cy="294198"/>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63" name="Rectangle 162">
              <a:extLst>
                <a:ext uri="{FF2B5EF4-FFF2-40B4-BE49-F238E27FC236}">
                  <a16:creationId xmlns:a16="http://schemas.microsoft.com/office/drawing/2014/main" id="{0BB6CCA4-19B7-432A-99EA-C8CC6B525C03}"/>
                </a:ext>
              </a:extLst>
            </p:cNvPr>
            <p:cNvSpPr/>
            <p:nvPr userDrawn="1"/>
          </p:nvSpPr>
          <p:spPr bwMode="auto">
            <a:xfrm>
              <a:off x="467544" y="1085004"/>
              <a:ext cx="8381448" cy="478634"/>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64" name="Rectangle 163">
              <a:extLst>
                <a:ext uri="{FF2B5EF4-FFF2-40B4-BE49-F238E27FC236}">
                  <a16:creationId xmlns:a16="http://schemas.microsoft.com/office/drawing/2014/main" id="{0810C59A-C7D9-4355-89CD-1944C2A91050}"/>
                </a:ext>
              </a:extLst>
            </p:cNvPr>
            <p:cNvSpPr/>
            <p:nvPr userDrawn="1"/>
          </p:nvSpPr>
          <p:spPr bwMode="auto">
            <a:xfrm>
              <a:off x="467544" y="4803998"/>
              <a:ext cx="8381448" cy="339502"/>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grpSp>
    </p:spTree>
    <p:extLst>
      <p:ext uri="{BB962C8B-B14F-4D97-AF65-F5344CB8AC3E}">
        <p14:creationId xmlns:p14="http://schemas.microsoft.com/office/powerpoint/2010/main" val="3233250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FA975-70B8-45C9-9965-AA1DAC63FF26}"/>
              </a:ext>
            </a:extLst>
          </p:cNvPr>
          <p:cNvGraphicFramePr>
            <a:graphicFrameLocks noChangeAspect="1"/>
          </p:cNvGraphicFramePr>
          <p:nvPr userDrawn="1">
            <p:custDataLst>
              <p:tags r:id="rId2"/>
            </p:custDataLst>
            <p:extLst>
              <p:ext uri="{D42A27DB-BD31-4B8C-83A1-F6EECF244321}">
                <p14:modId xmlns:p14="http://schemas.microsoft.com/office/powerpoint/2010/main" val="32794920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0" name="think-cell Slide" r:id="rId5" imgW="328" imgH="328" progId="TCLayout.ActiveDocument.1">
                  <p:embed/>
                </p:oleObj>
              </mc:Choice>
              <mc:Fallback>
                <p:oleObj name="think-cell Slide" r:id="rId5" imgW="328" imgH="328"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1986" name="Rectangle 2"/>
          <p:cNvSpPr>
            <a:spLocks noGrp="1" noChangeArrowheads="1"/>
          </p:cNvSpPr>
          <p:nvPr>
            <p:ph type="ctrTitle"/>
          </p:nvPr>
        </p:nvSpPr>
        <p:spPr>
          <a:xfrm>
            <a:off x="2411760" y="1845737"/>
            <a:ext cx="5325716" cy="1277273"/>
          </a:xfrm>
        </p:spPr>
        <p:txBody>
          <a:bodyPr vert="horz" wrap="square" lIns="91440" rIns="0" anchor="b">
            <a:spAutoFit/>
          </a:bodyPr>
          <a:lstStyle>
            <a:lvl1pPr algn="r" rtl="0">
              <a:defRPr sz="4000">
                <a:solidFill>
                  <a:schemeClr val="bg1"/>
                </a:solidFill>
                <a:latin typeface="+mj-lt"/>
                <a:ea typeface="+mj-ea"/>
                <a:cs typeface="+mj-cs"/>
                <a:sym typeface="Novel Sans Pro" panose="02000000000000000000" pitchFamily="50" charset="0"/>
              </a:defRPr>
            </a:lvl1pPr>
          </a:lstStyle>
          <a:p>
            <a:pPr lvl="0"/>
            <a:r>
              <a:rPr lang="de-DE" noProof="0" dirty="0"/>
              <a:t>Click to edit Master title style</a:t>
            </a:r>
          </a:p>
        </p:txBody>
      </p:sp>
      <p:sp>
        <p:nvSpPr>
          <p:cNvPr id="41987" name="Rectangle 3"/>
          <p:cNvSpPr>
            <a:spLocks noGrp="1" noChangeArrowheads="1"/>
          </p:cNvSpPr>
          <p:nvPr>
            <p:ph type="subTitle" idx="1"/>
          </p:nvPr>
        </p:nvSpPr>
        <p:spPr>
          <a:xfrm>
            <a:off x="971551" y="3219450"/>
            <a:ext cx="6761163" cy="353943"/>
          </a:xfrm>
        </p:spPr>
        <p:txBody>
          <a:bodyPr lIns="91440" rIns="0">
            <a:spAutoFit/>
          </a:bodyPr>
          <a:lstStyle>
            <a:lvl1pPr marL="0" indent="0" algn="r" rtl="0">
              <a:defRPr sz="2000" i="1">
                <a:solidFill>
                  <a:schemeClr val="bg1"/>
                </a:solidFill>
                <a:latin typeface="+mn-lt"/>
                <a:ea typeface="+mn-ea"/>
                <a:cs typeface="+mn-cs"/>
                <a:sym typeface="Novel Sans Pro" panose="02000000000000000000" pitchFamily="50" charset="0"/>
              </a:defRPr>
            </a:lvl1pPr>
          </a:lstStyle>
          <a:p>
            <a:pPr lvl="0"/>
            <a:r>
              <a:rPr lang="de-DE" noProof="0" dirty="0"/>
              <a:t>Click to edit Master subtitle style</a:t>
            </a:r>
          </a:p>
        </p:txBody>
      </p:sp>
    </p:spTree>
    <p:extLst>
      <p:ext uri="{BB962C8B-B14F-4D97-AF65-F5344CB8AC3E}">
        <p14:creationId xmlns:p14="http://schemas.microsoft.com/office/powerpoint/2010/main" val="14007149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653AD8-5947-4693-B6B9-92C2DA289F0C}"/>
              </a:ext>
            </a:extLst>
          </p:cNvPr>
          <p:cNvGraphicFramePr>
            <a:graphicFrameLocks noChangeAspect="1"/>
          </p:cNvGraphicFramePr>
          <p:nvPr userDrawn="1">
            <p:custDataLst>
              <p:tags r:id="rId2"/>
            </p:custDataLst>
            <p:extLst>
              <p:ext uri="{D42A27DB-BD31-4B8C-83A1-F6EECF244321}">
                <p14:modId xmlns:p14="http://schemas.microsoft.com/office/powerpoint/2010/main" val="9574820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4"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6C653AD8-5947-4693-B6B9-92C2DA289F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0" name="Rectangle 9">
            <a:extLst>
              <a:ext uri="{FF2B5EF4-FFF2-40B4-BE49-F238E27FC236}">
                <a16:creationId xmlns:a16="http://schemas.microsoft.com/office/drawing/2014/main" id="{2E6144E9-0752-42AF-8C60-1483A91E4A83}"/>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5" name="Picture 4" descr="A picture containing graphical user interface&#10;&#10;Description automatically generated">
            <a:extLst>
              <a:ext uri="{FF2B5EF4-FFF2-40B4-BE49-F238E27FC236}">
                <a16:creationId xmlns:a16="http://schemas.microsoft.com/office/drawing/2014/main" id="{075532D7-DE97-40E7-A4B7-60811C201273}"/>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Title 8">
            <a:extLst>
              <a:ext uri="{FF2B5EF4-FFF2-40B4-BE49-F238E27FC236}">
                <a16:creationId xmlns:a16="http://schemas.microsoft.com/office/drawing/2014/main" id="{415B317E-DD24-4C3A-BF06-D4141BEFA432}"/>
              </a:ext>
            </a:extLst>
          </p:cNvPr>
          <p:cNvSpPr>
            <a:spLocks noGrp="1"/>
          </p:cNvSpPr>
          <p:nvPr>
            <p:ph type="title"/>
          </p:nvPr>
        </p:nvSpPr>
        <p:spPr>
          <a:xfrm>
            <a:off x="472500" y="300174"/>
            <a:ext cx="6331747" cy="538609"/>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20170531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653AD8-5947-4693-B6B9-92C2DA289F0C}"/>
              </a:ext>
            </a:extLst>
          </p:cNvPr>
          <p:cNvGraphicFramePr>
            <a:graphicFrameLocks noChangeAspect="1"/>
          </p:cNvGraphicFramePr>
          <p:nvPr userDrawn="1">
            <p:custDataLst>
              <p:tags r:id="rId2"/>
            </p:custDataLst>
            <p:extLst>
              <p:ext uri="{D42A27DB-BD31-4B8C-83A1-F6EECF244321}">
                <p14:modId xmlns:p14="http://schemas.microsoft.com/office/powerpoint/2010/main" val="480638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68"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6C653AD8-5947-4693-B6B9-92C2DA289F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B364912-25D5-438E-B737-636861CCB14D}"/>
              </a:ext>
            </a:extLst>
          </p:cNvPr>
          <p:cNvSpPr>
            <a:spLocks noGrp="1"/>
          </p:cNvSpPr>
          <p:nvPr>
            <p:ph type="title"/>
          </p:nvPr>
        </p:nvSpPr>
        <p:spPr>
          <a:xfrm>
            <a:off x="472500" y="300174"/>
            <a:ext cx="6331747" cy="538609"/>
          </a:xfrm>
        </p:spPr>
        <p:txBody>
          <a:bodyPr vert="horz"/>
          <a:lstStyle>
            <a:lvl1pPr rtl="0">
              <a:defRPr sz="3200">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edit</a:t>
            </a:r>
            <a:r>
              <a:rPr lang="de-DE" dirty="0"/>
              <a:t> Master title style</a:t>
            </a:r>
          </a:p>
        </p:txBody>
      </p:sp>
      <p:sp>
        <p:nvSpPr>
          <p:cNvPr id="6" name="Text Placeholder 5">
            <a:extLst>
              <a:ext uri="{FF2B5EF4-FFF2-40B4-BE49-F238E27FC236}">
                <a16:creationId xmlns:a16="http://schemas.microsoft.com/office/drawing/2014/main" id="{D77CBFFA-14DD-4F8D-BDAF-6B5CB16E04A9}"/>
              </a:ext>
            </a:extLst>
          </p:cNvPr>
          <p:cNvSpPr>
            <a:spLocks noGrp="1"/>
          </p:cNvSpPr>
          <p:nvPr>
            <p:ph type="body" sz="quarter" idx="11"/>
          </p:nvPr>
        </p:nvSpPr>
        <p:spPr>
          <a:xfrm>
            <a:off x="472500" y="1563638"/>
            <a:ext cx="8381448" cy="3096344"/>
          </a:xfrm>
        </p:spPr>
        <p:txBody>
          <a:bodyPr/>
          <a:lstStyle>
            <a:lvl1pPr rtl="0">
              <a:defRPr>
                <a:latin typeface="+mn-lt"/>
                <a:ea typeface="+mn-ea"/>
                <a:cs typeface="+mn-cs"/>
                <a:sym typeface="Novel Sans Pro" panose="02000000000000000000" pitchFamily="50" charset="0"/>
              </a:defRPr>
            </a:lvl1pPr>
            <a:lvl2pPr rtl="0">
              <a:defRPr>
                <a:latin typeface="+mn-lt"/>
                <a:ea typeface="+mn-ea"/>
                <a:cs typeface="+mn-cs"/>
                <a:sym typeface="Novel Sans Pro" panose="02000000000000000000" pitchFamily="50" charset="0"/>
              </a:defRPr>
            </a:lvl2pPr>
            <a:lvl3pPr rtl="0">
              <a:defRPr>
                <a:latin typeface="+mn-lt"/>
                <a:ea typeface="+mn-ea"/>
                <a:cs typeface="+mn-cs"/>
                <a:sym typeface="Novel Sans Pro" panose="02000000000000000000" pitchFamily="50" charset="0"/>
              </a:defRPr>
            </a:lvl3pPr>
            <a:lvl4pPr rtl="0">
              <a:defRPr>
                <a:latin typeface="+mn-lt"/>
                <a:ea typeface="+mn-ea"/>
                <a:cs typeface="+mn-cs"/>
                <a:sym typeface="Novel Sans Pro" panose="02000000000000000000" pitchFamily="50" charset="0"/>
              </a:defRPr>
            </a:lvl4pPr>
            <a:lvl5pPr rtl="0">
              <a:defRPr>
                <a:latin typeface="+mn-lt"/>
                <a:ea typeface="+mn-ea"/>
                <a:cs typeface="+mn-cs"/>
                <a:sym typeface="Novel Sans Pro" panose="02000000000000000000" pitchFamily="50" charset="0"/>
              </a:defRPr>
            </a:lvl5pPr>
          </a:lstStyle>
          <a:p>
            <a:pPr lvl="0"/>
            <a:r>
              <a:rPr lang="de-DE" dirty="0"/>
              <a:t>Click </a:t>
            </a:r>
            <a:r>
              <a:rPr lang="de-DE" dirty="0" err="1"/>
              <a:t>to</a:t>
            </a:r>
            <a:r>
              <a:rPr lang="de-DE" dirty="0"/>
              <a:t> </a:t>
            </a:r>
            <a:r>
              <a:rPr lang="de-DE" dirty="0" err="1"/>
              <a:t>edit</a:t>
            </a:r>
            <a:r>
              <a:rPr lang="de-DE" dirty="0"/>
              <a:t> Master </a:t>
            </a:r>
            <a:r>
              <a:rPr lang="de-DE" dirty="0" err="1"/>
              <a:t>text</a:t>
            </a:r>
            <a:r>
              <a:rPr lang="de-DE" dirty="0"/>
              <a:t> </a:t>
            </a:r>
            <a:r>
              <a:rPr lang="de-DE" dirty="0" err="1"/>
              <a:t>styles</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de-DE" dirty="0"/>
          </a:p>
        </p:txBody>
      </p:sp>
      <p:sp>
        <p:nvSpPr>
          <p:cNvPr id="9" name="Rectangle 8">
            <a:extLst>
              <a:ext uri="{FF2B5EF4-FFF2-40B4-BE49-F238E27FC236}">
                <a16:creationId xmlns:a16="http://schemas.microsoft.com/office/drawing/2014/main" id="{7F538295-8BC1-45F2-A8BB-5EDDBBB4FE9D}"/>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EF9B76F8-A5D0-4ED2-956D-CD089CA42CCC}"/>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pic>
        <p:nvPicPr>
          <p:cNvPr id="7" name="Picture 6" descr="A picture containing graphical user interface&#10;&#10;Description automatically generated">
            <a:extLst>
              <a:ext uri="{FF2B5EF4-FFF2-40B4-BE49-F238E27FC236}">
                <a16:creationId xmlns:a16="http://schemas.microsoft.com/office/drawing/2014/main" id="{93C473D4-50B6-4E25-978E-DA8F2E2AA395}"/>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Tree>
    <p:extLst>
      <p:ext uri="{BB962C8B-B14F-4D97-AF65-F5344CB8AC3E}">
        <p14:creationId xmlns:p14="http://schemas.microsoft.com/office/powerpoint/2010/main" val="2311990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69D6402-E3BA-442F-92A7-B07759D08C19}"/>
              </a:ext>
            </a:extLst>
          </p:cNvPr>
          <p:cNvGraphicFramePr>
            <a:graphicFrameLocks noChangeAspect="1"/>
          </p:cNvGraphicFramePr>
          <p:nvPr userDrawn="1">
            <p:custDataLst>
              <p:tags r:id="rId2"/>
            </p:custDataLst>
            <p:extLst>
              <p:ext uri="{D42A27DB-BD31-4B8C-83A1-F6EECF244321}">
                <p14:modId xmlns:p14="http://schemas.microsoft.com/office/powerpoint/2010/main" val="1734925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9" name="Title 1"/>
          <p:cNvSpPr>
            <a:spLocks noGrp="1"/>
          </p:cNvSpPr>
          <p:nvPr>
            <p:ph type="title" hasCustomPrompt="1"/>
          </p:nvPr>
        </p:nvSpPr>
        <p:spPr bwMode="ltGray">
          <a:xfrm>
            <a:off x="472500" y="1158205"/>
            <a:ext cx="2589300" cy="1121846"/>
          </a:xfrm>
          <a:noFill/>
        </p:spPr>
        <p:txBody>
          <a:bodyPr vert="horz" wrap="square" lIns="0" tIns="0" rIns="320040" bIns="0" anchor="b">
            <a:noAutofit/>
          </a:bodyPr>
          <a:lstStyle>
            <a:lvl1pPr rtl="0">
              <a:defRPr sz="320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sp>
        <p:nvSpPr>
          <p:cNvPr id="6" name="Rectangle 5">
            <a:extLst>
              <a:ext uri="{FF2B5EF4-FFF2-40B4-BE49-F238E27FC236}">
                <a16:creationId xmlns:a16="http://schemas.microsoft.com/office/drawing/2014/main" id="{F2F154D6-F335-44A0-AC94-98D7B9B6B5B7}"/>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8139831F-7B20-4C38-845A-4845011AFF1D}"/>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pic>
        <p:nvPicPr>
          <p:cNvPr id="7" name="Picture 6" descr="A picture containing graphical user interface&#10;&#10;Description automatically generated">
            <a:extLst>
              <a:ext uri="{FF2B5EF4-FFF2-40B4-BE49-F238E27FC236}">
                <a16:creationId xmlns:a16="http://schemas.microsoft.com/office/drawing/2014/main" id="{13AB1763-0B9F-4ABC-911B-FBF864839B81}"/>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Tree>
    <p:extLst>
      <p:ext uri="{BB962C8B-B14F-4D97-AF65-F5344CB8AC3E}">
        <p14:creationId xmlns:p14="http://schemas.microsoft.com/office/powerpoint/2010/main" val="31969643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53000">
              <a:srgbClr val="A8BCCF"/>
            </a:gs>
            <a:gs pos="4000">
              <a:srgbClr val="4C7895"/>
            </a:gs>
            <a:gs pos="92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0083853-7B5B-4459-8CF8-4ED81C9BDE2E}"/>
              </a:ext>
            </a:extLst>
          </p:cNvPr>
          <p:cNvGraphicFramePr>
            <a:graphicFrameLocks noChangeAspect="1"/>
          </p:cNvGraphicFramePr>
          <p:nvPr userDrawn="1">
            <p:custDataLst>
              <p:tags r:id="rId2"/>
            </p:custDataLst>
            <p:extLst>
              <p:ext uri="{D42A27DB-BD31-4B8C-83A1-F6EECF244321}">
                <p14:modId xmlns:p14="http://schemas.microsoft.com/office/powerpoint/2010/main" val="1908520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16"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70083853-7B5B-4459-8CF8-4ED81C9BDE2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sp>
        <p:nvSpPr>
          <p:cNvPr id="59" name="Rectangle 58"/>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sp>
        <p:nvSpPr>
          <p:cNvPr id="11" name="Rectangle 10">
            <a:extLst>
              <a:ext uri="{FF2B5EF4-FFF2-40B4-BE49-F238E27FC236}">
                <a16:creationId xmlns:a16="http://schemas.microsoft.com/office/drawing/2014/main" id="{C9D40535-E505-4D5A-9406-D67B1CE3513B}"/>
              </a:ext>
            </a:extLst>
          </p:cNvPr>
          <p:cNvSpPr/>
          <p:nvPr userDrawn="1"/>
        </p:nvSpPr>
        <p:spPr bwMode="auto">
          <a:xfrm>
            <a:off x="0" y="5183"/>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3" name="Copyright" hidden="1">
            <a:extLst>
              <a:ext uri="{FF2B5EF4-FFF2-40B4-BE49-F238E27FC236}">
                <a16:creationId xmlns:a16="http://schemas.microsoft.com/office/drawing/2014/main" id="{9A34FC9E-CB22-4D6D-8BF5-897571E0A74B}"/>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pic>
        <p:nvPicPr>
          <p:cNvPr id="7" name="Picture 6" descr="A picture containing graphical user interface&#10;&#10;Description automatically generated">
            <a:extLst>
              <a:ext uri="{FF2B5EF4-FFF2-40B4-BE49-F238E27FC236}">
                <a16:creationId xmlns:a16="http://schemas.microsoft.com/office/drawing/2014/main" id="{4E46E0C2-4951-457D-A09A-888158445CD5}"/>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Slide Number Placeholder 28">
            <a:extLst>
              <a:ext uri="{FF2B5EF4-FFF2-40B4-BE49-F238E27FC236}">
                <a16:creationId xmlns:a16="http://schemas.microsoft.com/office/drawing/2014/main" id="{A35D7BE0-0DD0-410C-A9CD-53993062D716}"/>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3210349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53000">
              <a:srgbClr val="A8BCCF"/>
            </a:gs>
            <a:gs pos="4000">
              <a:srgbClr val="4C7895"/>
            </a:gs>
            <a:gs pos="93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C24554-B005-47F2-9D30-D14A67E98A75}"/>
              </a:ext>
            </a:extLst>
          </p:cNvPr>
          <p:cNvGraphicFramePr>
            <a:graphicFrameLocks noChangeAspect="1"/>
          </p:cNvGraphicFramePr>
          <p:nvPr userDrawn="1">
            <p:custDataLst>
              <p:tags r:id="rId2"/>
            </p:custDataLst>
            <p:extLst>
              <p:ext uri="{D42A27DB-BD31-4B8C-83A1-F6EECF244321}">
                <p14:modId xmlns:p14="http://schemas.microsoft.com/office/powerpoint/2010/main" val="1006801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0"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BDC24554-B005-47F2-9D30-D14A67E98A7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472500" y="2870100"/>
            <a:ext cx="8202600" cy="1530900"/>
          </a:xfrm>
        </p:spPr>
        <p:txBody>
          <a:bodyPr vert="horz" anchor="t">
            <a:noAutofit/>
          </a:bodyPr>
          <a:lstStyle>
            <a:lvl1pPr rtl="0">
              <a:defRPr sz="40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5" name="Picture 4" descr="A picture containing graphical user interface&#10;&#10;Description automatically generated">
            <a:extLst>
              <a:ext uri="{FF2B5EF4-FFF2-40B4-BE49-F238E27FC236}">
                <a16:creationId xmlns:a16="http://schemas.microsoft.com/office/drawing/2014/main" id="{E1EDF763-4D8F-40C4-A985-6F138580C5B0}"/>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7" name="Slide Number Placeholder 28">
            <a:extLst>
              <a:ext uri="{FF2B5EF4-FFF2-40B4-BE49-F238E27FC236}">
                <a16:creationId xmlns:a16="http://schemas.microsoft.com/office/drawing/2014/main" id="{44C25146-A1C7-428E-B555-8468058E2178}"/>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6508545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53000">
              <a:srgbClr val="84A2B8"/>
            </a:gs>
            <a:gs pos="4000">
              <a:srgbClr val="4C7895"/>
            </a:gs>
            <a:gs pos="92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696F4D1-F6FE-402C-8EA8-C2F798376D5D}"/>
              </a:ext>
            </a:extLst>
          </p:cNvPr>
          <p:cNvGraphicFramePr>
            <a:graphicFrameLocks noChangeAspect="1"/>
          </p:cNvGraphicFramePr>
          <p:nvPr userDrawn="1">
            <p:custDataLst>
              <p:tags r:id="rId2"/>
            </p:custDataLst>
            <p:extLst>
              <p:ext uri="{D42A27DB-BD31-4B8C-83A1-F6EECF244321}">
                <p14:modId xmlns:p14="http://schemas.microsoft.com/office/powerpoint/2010/main" val="11332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4"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26" name="Rectangle 25"/>
          <p:cNvSpPr/>
          <p:nvPr userDrawn="1"/>
        </p:nvSpPr>
        <p:spPr bwMode="white">
          <a:xfrm>
            <a:off x="0"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320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descr="A picture containing graphical user interface&#10;&#10;Description automatically generated">
            <a:extLst>
              <a:ext uri="{FF2B5EF4-FFF2-40B4-BE49-F238E27FC236}">
                <a16:creationId xmlns:a16="http://schemas.microsoft.com/office/drawing/2014/main" id="{CC3BF16A-B26F-445B-8978-99931C9DA26D}"/>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3" name="Slide Number Placeholder 28">
            <a:extLst>
              <a:ext uri="{FF2B5EF4-FFF2-40B4-BE49-F238E27FC236}">
                <a16:creationId xmlns:a16="http://schemas.microsoft.com/office/drawing/2014/main" id="{3B4E435D-02B3-4ABC-B0B3-5F198008F2CB}"/>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F23E0862-ED8C-4573-BFEC-F70A244D79E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3649632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53000">
              <a:srgbClr val="84A2B8"/>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0CAA249-CE94-4087-88B4-101BB7C4A962}"/>
              </a:ext>
            </a:extLst>
          </p:cNvPr>
          <p:cNvGraphicFramePr>
            <a:graphicFrameLocks noChangeAspect="1"/>
          </p:cNvGraphicFramePr>
          <p:nvPr userDrawn="1">
            <p:custDataLst>
              <p:tags r:id="rId2"/>
            </p:custDataLst>
            <p:extLst>
              <p:ext uri="{D42A27DB-BD31-4B8C-83A1-F6EECF244321}">
                <p14:modId xmlns:p14="http://schemas.microsoft.com/office/powerpoint/2010/main" val="2942152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8"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40CAA249-CE94-4087-88B4-101BB7C4A9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pic>
        <p:nvPicPr>
          <p:cNvPr id="9" name="Picture 8" descr="A picture containing graphical user interface&#10;&#10;Description automatically generated">
            <a:extLst>
              <a:ext uri="{FF2B5EF4-FFF2-40B4-BE49-F238E27FC236}">
                <a16:creationId xmlns:a16="http://schemas.microsoft.com/office/drawing/2014/main" id="{3A693ABD-0633-42B2-A61B-63C8A8DD6C96}"/>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39B8F079-D056-445E-A238-4E1B8477AE9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E8FFF525-3F74-4911-B2F3-D88AE9F79803}"/>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4" name="Title 3">
            <a:extLst>
              <a:ext uri="{FF2B5EF4-FFF2-40B4-BE49-F238E27FC236}">
                <a16:creationId xmlns:a16="http://schemas.microsoft.com/office/drawing/2014/main" id="{0A2A7DF0-A967-45E2-9BB5-A8ADB6C95E4C}"/>
              </a:ext>
            </a:extLst>
          </p:cNvPr>
          <p:cNvSpPr>
            <a:spLocks noGrp="1"/>
          </p:cNvSpPr>
          <p:nvPr>
            <p:ph type="title"/>
          </p:nvPr>
        </p:nvSpPr>
        <p:spPr>
          <a:xfrm>
            <a:off x="472501" y="300174"/>
            <a:ext cx="4747572" cy="1031051"/>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72874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and Text">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02B179C-5C1E-4FB7-A7CE-F754A0D98874}"/>
              </a:ext>
            </a:extLst>
          </p:cNvPr>
          <p:cNvGraphicFramePr>
            <a:graphicFrameLocks noChangeAspect="1"/>
          </p:cNvGraphicFramePr>
          <p:nvPr userDrawn="1">
            <p:custDataLst>
              <p:tags r:id="rId2"/>
            </p:custDataLst>
            <p:extLst>
              <p:ext uri="{D42A27DB-BD31-4B8C-83A1-F6EECF244321}">
                <p14:modId xmlns:p14="http://schemas.microsoft.com/office/powerpoint/2010/main" val="6253606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8"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8" name="Picture 7" descr="A picture containing graphical user interface&#10;&#10;Description automatically generated">
            <a:extLst>
              <a:ext uri="{FF2B5EF4-FFF2-40B4-BE49-F238E27FC236}">
                <a16:creationId xmlns:a16="http://schemas.microsoft.com/office/drawing/2014/main" id="{A2B130EA-0823-4FCC-BC90-3840481EBDBF}"/>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Copyright" hidden="1">
            <a:extLst>
              <a:ext uri="{FF2B5EF4-FFF2-40B4-BE49-F238E27FC236}">
                <a16:creationId xmlns:a16="http://schemas.microsoft.com/office/drawing/2014/main" id="{8EA957CC-8B66-46A2-BC69-A269BE0396C9}"/>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1" name="Text Placeholder 10">
            <a:extLst>
              <a:ext uri="{FF2B5EF4-FFF2-40B4-BE49-F238E27FC236}">
                <a16:creationId xmlns:a16="http://schemas.microsoft.com/office/drawing/2014/main" id="{35847AC7-7BC4-4B1D-B0F6-576CA9E65636}"/>
              </a:ext>
            </a:extLst>
          </p:cNvPr>
          <p:cNvSpPr>
            <a:spLocks noGrp="1"/>
          </p:cNvSpPr>
          <p:nvPr>
            <p:ph type="body" sz="quarter" idx="11"/>
          </p:nvPr>
        </p:nvSpPr>
        <p:spPr>
          <a:xfrm>
            <a:off x="472050" y="1564221"/>
            <a:ext cx="8200463" cy="3031200"/>
          </a:xfrm>
        </p:spPr>
        <p:txBody>
          <a:bodyPr/>
          <a:lstStyle>
            <a:lvl1pPr rtl="0">
              <a:defRPr sz="1400">
                <a:latin typeface="+mn-lt"/>
                <a:ea typeface="+mn-ea"/>
                <a:cs typeface="+mn-cs"/>
                <a:sym typeface="Novel Sans Pro" panose="02000000000000000000" pitchFamily="50" charset="0"/>
              </a:defRPr>
            </a:lvl1pPr>
            <a:lvl2pPr rtl="0">
              <a:defRPr sz="1400">
                <a:latin typeface="+mn-lt"/>
                <a:ea typeface="+mn-ea"/>
                <a:cs typeface="+mn-cs"/>
                <a:sym typeface="Novel Sans Pro" panose="02000000000000000000" pitchFamily="50" charset="0"/>
              </a:defRPr>
            </a:lvl2pPr>
            <a:lvl3pPr rtl="0">
              <a:defRPr sz="1400">
                <a:latin typeface="+mn-lt"/>
                <a:ea typeface="+mn-ea"/>
                <a:cs typeface="+mn-cs"/>
                <a:sym typeface="Novel Sans Pro" panose="02000000000000000000" pitchFamily="50" charset="0"/>
              </a:defRPr>
            </a:lvl3pPr>
            <a:lvl4pPr rtl="0">
              <a:defRPr sz="1400">
                <a:latin typeface="+mn-lt"/>
                <a:ea typeface="+mn-ea"/>
                <a:cs typeface="+mn-cs"/>
                <a:sym typeface="Novel Sans Pro" panose="02000000000000000000" pitchFamily="50" charset="0"/>
              </a:defRPr>
            </a:lvl4pPr>
            <a:lvl5pPr rtl="0">
              <a:defRPr sz="1400">
                <a:latin typeface="+mn-lt"/>
                <a:ea typeface="+mn-ea"/>
                <a:cs typeface="+mn-cs"/>
                <a:sym typeface="Novel Sans Pro" panose="02000000000000000000" pitchFamily="50" charset="0"/>
              </a:defRPr>
            </a:lvl5pPr>
          </a:lstStyle>
          <a:p>
            <a:pPr lvl="0"/>
            <a:r>
              <a:rPr lang="de-DE" dirty="0"/>
              <a:t>Click to edit Master text styles</a:t>
            </a:r>
          </a:p>
          <a:p>
            <a:pPr lvl="1"/>
            <a:r>
              <a:rPr lang="de-DE" dirty="0"/>
              <a:t>Second level</a:t>
            </a:r>
          </a:p>
          <a:p>
            <a:pPr lvl="2"/>
            <a:r>
              <a:rPr lang="de-DE" dirty="0"/>
              <a:t>Third level</a:t>
            </a:r>
          </a:p>
          <a:p>
            <a:pPr lvl="3"/>
            <a:r>
              <a:rPr lang="de-DE" dirty="0"/>
              <a:t>Fourth level</a:t>
            </a:r>
          </a:p>
          <a:p>
            <a:pPr lvl="4"/>
            <a:r>
              <a:rPr lang="de-DE" dirty="0"/>
              <a:t>Fifth level</a:t>
            </a:r>
          </a:p>
        </p:txBody>
      </p:sp>
      <p:sp>
        <p:nvSpPr>
          <p:cNvPr id="12" name="Rectangle 11">
            <a:extLst>
              <a:ext uri="{FF2B5EF4-FFF2-40B4-BE49-F238E27FC236}">
                <a16:creationId xmlns:a16="http://schemas.microsoft.com/office/drawing/2014/main" id="{CD48C7EA-FBD7-4B33-9233-0EF82A807F75}"/>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3685745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53000">
              <a:srgbClr val="A8BCCF"/>
            </a:gs>
            <a:gs pos="4000">
              <a:srgbClr val="4C7895"/>
            </a:gs>
            <a:gs pos="92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B56801F-F45C-48FF-9137-7406E7EC3FE6}"/>
              </a:ext>
            </a:extLst>
          </p:cNvPr>
          <p:cNvGraphicFramePr>
            <a:graphicFrameLocks noChangeAspect="1"/>
          </p:cNvGraphicFramePr>
          <p:nvPr userDrawn="1">
            <p:custDataLst>
              <p:tags r:id="rId2"/>
            </p:custDataLst>
            <p:extLst>
              <p:ext uri="{D42A27DB-BD31-4B8C-83A1-F6EECF244321}">
                <p14:modId xmlns:p14="http://schemas.microsoft.com/office/powerpoint/2010/main" val="137064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32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pic>
        <p:nvPicPr>
          <p:cNvPr id="9" name="Picture 8" descr="A picture containing graphical user interface&#10;&#10;Description automatically generated">
            <a:extLst>
              <a:ext uri="{FF2B5EF4-FFF2-40B4-BE49-F238E27FC236}">
                <a16:creationId xmlns:a16="http://schemas.microsoft.com/office/drawing/2014/main" id="{B6696603-AF11-46F0-9D65-E265B1311A2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4" name="Slide Number Placeholder 28">
            <a:extLst>
              <a:ext uri="{FF2B5EF4-FFF2-40B4-BE49-F238E27FC236}">
                <a16:creationId xmlns:a16="http://schemas.microsoft.com/office/drawing/2014/main" id="{0C784861-DAE1-4DF7-A638-37CB2F678293}"/>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7" name="Copyright" hidden="1">
            <a:extLst>
              <a:ext uri="{FF2B5EF4-FFF2-40B4-BE49-F238E27FC236}">
                <a16:creationId xmlns:a16="http://schemas.microsoft.com/office/drawing/2014/main" id="{4F914B6D-2343-46C0-8D47-C363DC466194}"/>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3776586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D9E5356-FFE0-4352-AAEA-C87B169148EA}"/>
              </a:ext>
            </a:extLst>
          </p:cNvPr>
          <p:cNvGraphicFramePr>
            <a:graphicFrameLocks noChangeAspect="1"/>
          </p:cNvGraphicFramePr>
          <p:nvPr userDrawn="1">
            <p:custDataLst>
              <p:tags r:id="rId2"/>
            </p:custDataLst>
            <p:extLst>
              <p:ext uri="{D42A27DB-BD31-4B8C-83A1-F6EECF244321}">
                <p14:modId xmlns:p14="http://schemas.microsoft.com/office/powerpoint/2010/main" val="938261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6"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1D9E5356-FFE0-4352-AAEA-C87B169148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13" name="Picture Placeholder 18"/>
          <p:cNvSpPr>
            <a:spLocks noGrp="1"/>
          </p:cNvSpPr>
          <p:nvPr>
            <p:ph type="pic" sz="quarter" idx="14" hasCustomPrompt="1"/>
          </p:nvPr>
        </p:nvSpPr>
        <p:spPr>
          <a:xfrm>
            <a:off x="4572000" y="0"/>
            <a:ext cx="4574983" cy="5143500"/>
          </a:xfrm>
          <a:prstGeom prst="rect">
            <a:avLst/>
          </a:prstGeom>
          <a:noFill/>
        </p:spPr>
        <p:txBody>
          <a:bodyPr lIns="914400" tIns="914400" rIns="914400" bIns="914400"/>
          <a:lstStyle>
            <a:lvl1pPr algn="ctr" rtl="0">
              <a:defRPr sz="1400" baseline="0">
                <a:latin typeface="+mn-lt"/>
                <a:ea typeface="+mn-ea"/>
                <a:cs typeface="+mn-cs"/>
                <a:sym typeface="Novel Sans Pro" panose="02000000000000000000" pitchFamily="50" charset="0"/>
              </a:defRPr>
            </a:lvl1pPr>
          </a:lstStyle>
          <a:p>
            <a:r>
              <a:rPr lang="de-DE" dirty="0"/>
              <a:t>Click </a:t>
            </a:r>
            <a:r>
              <a:rPr lang="de-DE" dirty="0" err="1"/>
              <a:t>icon</a:t>
            </a:r>
            <a:r>
              <a:rPr lang="de-DE" dirty="0"/>
              <a:t> </a:t>
            </a:r>
            <a:r>
              <a:rPr lang="de-DE" dirty="0" err="1"/>
              <a:t>below</a:t>
            </a:r>
            <a:r>
              <a:rPr lang="de-DE" dirty="0"/>
              <a:t> </a:t>
            </a:r>
            <a:r>
              <a:rPr lang="de-DE" dirty="0" err="1"/>
              <a:t>to</a:t>
            </a:r>
            <a:r>
              <a:rPr lang="de-DE" dirty="0"/>
              <a:t> </a:t>
            </a:r>
            <a:r>
              <a:rPr lang="de-DE" dirty="0" err="1"/>
              <a:t>insert</a:t>
            </a:r>
            <a:r>
              <a:rPr lang="de-DE" dirty="0"/>
              <a:t> an </a:t>
            </a:r>
            <a:r>
              <a:rPr lang="de-DE" dirty="0" err="1"/>
              <a:t>image</a:t>
            </a:r>
            <a:r>
              <a:rPr lang="de-DE" dirty="0"/>
              <a:t> </a:t>
            </a:r>
            <a:r>
              <a:rPr lang="de-DE" dirty="0" err="1"/>
              <a:t>or</a:t>
            </a:r>
            <a:r>
              <a:rPr lang="de-DE" dirty="0"/>
              <a:t> </a:t>
            </a:r>
            <a:r>
              <a:rPr lang="de-DE" dirty="0" err="1"/>
              <a:t>remove</a:t>
            </a:r>
            <a:r>
              <a:rPr lang="de-DE" dirty="0"/>
              <a:t> </a:t>
            </a:r>
            <a:r>
              <a:rPr lang="de-DE" dirty="0" err="1"/>
              <a:t>this</a:t>
            </a:r>
            <a:r>
              <a:rPr lang="de-DE" dirty="0"/>
              <a:t> </a:t>
            </a:r>
            <a:r>
              <a:rPr lang="de-DE" dirty="0" err="1"/>
              <a:t>placeholder</a:t>
            </a:r>
            <a:r>
              <a:rPr lang="de-DE" dirty="0"/>
              <a:t> </a:t>
            </a:r>
            <a:r>
              <a:rPr lang="de-DE" dirty="0" err="1"/>
              <a:t>to</a:t>
            </a:r>
            <a:r>
              <a:rPr lang="de-DE" dirty="0"/>
              <a:t> </a:t>
            </a:r>
            <a:r>
              <a:rPr lang="de-DE" dirty="0" err="1"/>
              <a:t>use</a:t>
            </a:r>
            <a:r>
              <a:rPr lang="de-DE" dirty="0"/>
              <a:t> </a:t>
            </a:r>
            <a:r>
              <a:rPr lang="de-DE" dirty="0" err="1"/>
              <a:t>the</a:t>
            </a:r>
            <a:r>
              <a:rPr lang="de-DE" dirty="0"/>
              <a:t> </a:t>
            </a:r>
            <a:r>
              <a:rPr lang="de-DE" dirty="0" err="1"/>
              <a:t>whitespace</a:t>
            </a:r>
            <a:r>
              <a:rPr lang="de-DE" dirty="0"/>
              <a:t> in </a:t>
            </a:r>
            <a:r>
              <a:rPr lang="de-DE" dirty="0" err="1"/>
              <a:t>another</a:t>
            </a:r>
            <a:r>
              <a:rPr lang="de-DE" dirty="0"/>
              <a:t> </a:t>
            </a:r>
            <a:r>
              <a:rPr lang="de-DE" dirty="0" err="1"/>
              <a:t>way</a:t>
            </a:r>
            <a:endParaRPr lang="de-DE" dirty="0"/>
          </a:p>
        </p:txBody>
      </p:sp>
      <p:sp>
        <p:nvSpPr>
          <p:cNvPr id="14" name="Title 1"/>
          <p:cNvSpPr>
            <a:spLocks noGrp="1"/>
          </p:cNvSpPr>
          <p:nvPr>
            <p:ph type="title" hasCustomPrompt="1"/>
          </p:nvPr>
        </p:nvSpPr>
        <p:spPr bwMode="black">
          <a:xfrm>
            <a:off x="472500" y="1339200"/>
            <a:ext cx="3527006" cy="2465100"/>
          </a:xfrm>
          <a:prstGeom prst="rect">
            <a:avLst/>
          </a:prstGeom>
          <a:noFill/>
        </p:spPr>
        <p:txBody>
          <a:bodyPr vert="horz" wrap="square" lIns="0" tIns="0" rIns="320040" bIns="0" anchor="ctr">
            <a:noAutofit/>
          </a:bodyPr>
          <a:lstStyle>
            <a:lvl1pPr rtl="0">
              <a:defRPr sz="40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0" name="Picture 9" descr="A picture containing graphical user interface&#10;&#10;Description automatically generated">
            <a:extLst>
              <a:ext uri="{FF2B5EF4-FFF2-40B4-BE49-F238E27FC236}">
                <a16:creationId xmlns:a16="http://schemas.microsoft.com/office/drawing/2014/main" id="{272F1F55-1E23-400C-8F29-61EC10D72EB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7" name="Slide Number Placeholder 28">
            <a:extLst>
              <a:ext uri="{FF2B5EF4-FFF2-40B4-BE49-F238E27FC236}">
                <a16:creationId xmlns:a16="http://schemas.microsoft.com/office/drawing/2014/main" id="{4F44990F-7864-4EC5-B32F-8FB48B66FC35}"/>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8" name="Copyright" hidden="1">
            <a:extLst>
              <a:ext uri="{FF2B5EF4-FFF2-40B4-BE49-F238E27FC236}">
                <a16:creationId xmlns:a16="http://schemas.microsoft.com/office/drawing/2014/main" id="{63EB155E-CA1A-4A08-841D-BFC9E9F8F934}"/>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3174665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3AE0E01-AF96-4DC0-9493-49D695432ABC}"/>
              </a:ext>
            </a:extLst>
          </p:cNvPr>
          <p:cNvGraphicFramePr>
            <a:graphicFrameLocks noChangeAspect="1"/>
          </p:cNvGraphicFramePr>
          <p:nvPr userDrawn="1">
            <p:custDataLst>
              <p:tags r:id="rId2"/>
            </p:custDataLst>
            <p:extLst>
              <p:ext uri="{D42A27DB-BD31-4B8C-83A1-F6EECF244321}">
                <p14:modId xmlns:p14="http://schemas.microsoft.com/office/powerpoint/2010/main" val="33594786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60"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23AE0E01-AF96-4DC0-9493-49D695432A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11" name="Picture Placeholder 5"/>
          <p:cNvSpPr>
            <a:spLocks noGrp="1"/>
          </p:cNvSpPr>
          <p:nvPr>
            <p:ph type="pic" sz="quarter" idx="11" hasCustomPrompt="1"/>
          </p:nvPr>
        </p:nvSpPr>
        <p:spPr>
          <a:xfrm>
            <a:off x="5864658" y="0"/>
            <a:ext cx="3278981" cy="5143500"/>
          </a:xfrm>
          <a:prstGeom prst="rect">
            <a:avLst/>
          </a:prstGeom>
          <a:noFill/>
        </p:spPr>
        <p:txBody>
          <a:bodyPr lIns="182880" tIns="914400" rIns="182880" bIns="914400"/>
          <a:lstStyle>
            <a:lvl1pPr algn="ctr" rtl="0">
              <a:defRPr sz="1200">
                <a:solidFill>
                  <a:schemeClr val="tx1"/>
                </a:solidFill>
                <a:latin typeface="+mn-lt"/>
                <a:ea typeface="+mn-ea"/>
                <a:cs typeface="+mn-cs"/>
                <a:sym typeface="Novel Sans Pro" panose="02000000000000000000" pitchFamily="50" charset="0"/>
              </a:defRPr>
            </a:lvl1pPr>
          </a:lstStyle>
          <a:p>
            <a:r>
              <a:rPr lang="de-DE" dirty="0"/>
              <a:t>Click </a:t>
            </a:r>
            <a:r>
              <a:rPr lang="de-DE" dirty="0" err="1"/>
              <a:t>icon</a:t>
            </a:r>
            <a:r>
              <a:rPr lang="de-DE" dirty="0"/>
              <a:t> </a:t>
            </a:r>
            <a:r>
              <a:rPr lang="de-DE" dirty="0" err="1"/>
              <a:t>below</a:t>
            </a:r>
            <a:r>
              <a:rPr lang="de-DE" dirty="0"/>
              <a:t> </a:t>
            </a:r>
            <a:r>
              <a:rPr lang="de-DE" dirty="0" err="1"/>
              <a:t>to</a:t>
            </a:r>
            <a:r>
              <a:rPr lang="de-DE" dirty="0"/>
              <a:t> </a:t>
            </a:r>
            <a:r>
              <a:rPr lang="de-DE" dirty="0" err="1"/>
              <a:t>insert</a:t>
            </a:r>
            <a:r>
              <a:rPr lang="de-DE" dirty="0"/>
              <a:t> an </a:t>
            </a:r>
            <a:r>
              <a:rPr lang="de-DE" dirty="0" err="1"/>
              <a:t>image</a:t>
            </a:r>
            <a:r>
              <a:rPr lang="de-DE" dirty="0"/>
              <a:t> </a:t>
            </a:r>
            <a:r>
              <a:rPr lang="de-DE" dirty="0" err="1"/>
              <a:t>or</a:t>
            </a:r>
            <a:r>
              <a:rPr lang="de-DE" dirty="0"/>
              <a:t> </a:t>
            </a:r>
            <a:r>
              <a:rPr lang="de-DE" dirty="0" err="1"/>
              <a:t>remove</a:t>
            </a:r>
            <a:r>
              <a:rPr lang="de-DE" dirty="0"/>
              <a:t> </a:t>
            </a:r>
            <a:r>
              <a:rPr lang="de-DE" dirty="0" err="1"/>
              <a:t>this</a:t>
            </a:r>
            <a:r>
              <a:rPr lang="de-DE" dirty="0"/>
              <a:t> </a:t>
            </a:r>
            <a:r>
              <a:rPr lang="de-DE" dirty="0" err="1"/>
              <a:t>placeholder</a:t>
            </a:r>
            <a:r>
              <a:rPr lang="de-DE" dirty="0"/>
              <a:t> </a:t>
            </a:r>
            <a:r>
              <a:rPr lang="de-DE" dirty="0" err="1"/>
              <a:t>to</a:t>
            </a:r>
            <a:r>
              <a:rPr lang="de-DE" dirty="0"/>
              <a:t> </a:t>
            </a:r>
            <a:r>
              <a:rPr lang="de-DE" dirty="0" err="1"/>
              <a:t>use</a:t>
            </a:r>
            <a:r>
              <a:rPr lang="de-DE" dirty="0"/>
              <a:t> </a:t>
            </a:r>
            <a:r>
              <a:rPr lang="de-DE" dirty="0" err="1"/>
              <a:t>the</a:t>
            </a:r>
            <a:r>
              <a:rPr lang="de-DE" dirty="0"/>
              <a:t> </a:t>
            </a:r>
            <a:r>
              <a:rPr lang="de-DE" dirty="0" err="1"/>
              <a:t>whitespace</a:t>
            </a:r>
            <a:r>
              <a:rPr lang="de-DE" dirty="0"/>
              <a:t> in </a:t>
            </a:r>
            <a:r>
              <a:rPr lang="de-DE" dirty="0" err="1"/>
              <a:t>another</a:t>
            </a:r>
            <a:r>
              <a:rPr lang="de-DE" dirty="0"/>
              <a:t> </a:t>
            </a:r>
            <a:r>
              <a:rPr lang="de-DE" dirty="0" err="1"/>
              <a:t>way</a:t>
            </a:r>
            <a:endParaRPr lang="de-DE" dirty="0"/>
          </a:p>
        </p:txBody>
      </p:sp>
      <p:sp>
        <p:nvSpPr>
          <p:cNvPr id="14" name="Title 1"/>
          <p:cNvSpPr>
            <a:spLocks noGrp="1"/>
          </p:cNvSpPr>
          <p:nvPr>
            <p:ph type="title" hasCustomPrompt="1"/>
          </p:nvPr>
        </p:nvSpPr>
        <p:spPr bwMode="blackWhite">
          <a:xfrm>
            <a:off x="472500" y="1339200"/>
            <a:ext cx="4685664" cy="2465100"/>
          </a:xfrm>
          <a:prstGeom prst="rect">
            <a:avLst/>
          </a:prstGeom>
        </p:spPr>
        <p:txBody>
          <a:bodyPr vert="horz" anchor="ctr">
            <a:noAutofit/>
          </a:bodyPr>
          <a:lstStyle>
            <a:lvl1pPr rtl="0">
              <a:defRPr sz="400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edit</a:t>
            </a:r>
            <a:r>
              <a:rPr lang="de-DE" dirty="0"/>
              <a:t> title</a:t>
            </a:r>
          </a:p>
        </p:txBody>
      </p:sp>
      <p:pic>
        <p:nvPicPr>
          <p:cNvPr id="15" name="Picture 14" descr="A picture containing graphical user interface&#10;&#10;Description automatically generated">
            <a:extLst>
              <a:ext uri="{FF2B5EF4-FFF2-40B4-BE49-F238E27FC236}">
                <a16:creationId xmlns:a16="http://schemas.microsoft.com/office/drawing/2014/main" id="{70B86B27-FF49-4A23-B0B3-452BFF3E0FD4}"/>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6" name="Slide Number Placeholder 28">
            <a:extLst>
              <a:ext uri="{FF2B5EF4-FFF2-40B4-BE49-F238E27FC236}">
                <a16:creationId xmlns:a16="http://schemas.microsoft.com/office/drawing/2014/main" id="{9A4A7C64-4404-487C-84C9-47C151DE85C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8" name="Copyright" hidden="1">
            <a:extLst>
              <a:ext uri="{FF2B5EF4-FFF2-40B4-BE49-F238E27FC236}">
                <a16:creationId xmlns:a16="http://schemas.microsoft.com/office/drawing/2014/main" id="{D720B0FD-5EE8-4A4E-99D5-F3E5765A6ED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533250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905843-E0F0-48D2-B07F-C4257A139269}"/>
              </a:ext>
            </a:extLst>
          </p:cNvPr>
          <p:cNvGraphicFramePr>
            <a:graphicFrameLocks noChangeAspect="1"/>
          </p:cNvGraphicFramePr>
          <p:nvPr userDrawn="1">
            <p:custDataLst>
              <p:tags r:id="rId2"/>
            </p:custDataLst>
            <p:extLst>
              <p:ext uri="{D42A27DB-BD31-4B8C-83A1-F6EECF244321}">
                <p14:modId xmlns:p14="http://schemas.microsoft.com/office/powerpoint/2010/main" val="4117602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84"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descr="A picture containing graphical user interface&#10;&#10;Description automatically generated">
            <a:extLst>
              <a:ext uri="{FF2B5EF4-FFF2-40B4-BE49-F238E27FC236}">
                <a16:creationId xmlns:a16="http://schemas.microsoft.com/office/drawing/2014/main" id="{2A5E12AB-C024-40F6-93CB-5ED985921E26}"/>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29E16EA8-9C00-4E3F-A411-10F7CDC18C5D}"/>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3" name="Copyright" hidden="1">
            <a:extLst>
              <a:ext uri="{FF2B5EF4-FFF2-40B4-BE49-F238E27FC236}">
                <a16:creationId xmlns:a16="http://schemas.microsoft.com/office/drawing/2014/main" id="{74168232-14E7-4ED8-9927-CDA8F905BA3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15" name="Title 2">
            <a:extLst>
              <a:ext uri="{FF2B5EF4-FFF2-40B4-BE49-F238E27FC236}">
                <a16:creationId xmlns:a16="http://schemas.microsoft.com/office/drawing/2014/main" id="{23A07C72-BB8A-44B5-BE16-87FF6F59E1A7}"/>
              </a:ext>
            </a:extLst>
          </p:cNvPr>
          <p:cNvSpPr>
            <a:spLocks noGrp="1"/>
          </p:cNvSpPr>
          <p:nvPr>
            <p:ph type="title" hasCustomPrompt="1"/>
          </p:nvPr>
        </p:nvSpPr>
        <p:spPr>
          <a:xfrm>
            <a:off x="472500" y="2073153"/>
            <a:ext cx="2299300" cy="985733"/>
          </a:xfrm>
        </p:spPr>
        <p:txBody>
          <a:bodyPr vert="horz" anchor="ctr" anchorCtr="0">
            <a:noAutofit/>
          </a:bodyPr>
          <a:lstStyle>
            <a:lvl1pPr rtl="0">
              <a:defRPr sz="3200" baseline="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spTree>
    <p:extLst>
      <p:ext uri="{BB962C8B-B14F-4D97-AF65-F5344CB8AC3E}">
        <p14:creationId xmlns:p14="http://schemas.microsoft.com/office/powerpoint/2010/main" val="26604148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40F649-2223-4090-9C24-900C8C96AE03}"/>
              </a:ext>
            </a:extLst>
          </p:cNvPr>
          <p:cNvGraphicFramePr>
            <a:graphicFrameLocks noChangeAspect="1"/>
          </p:cNvGraphicFramePr>
          <p:nvPr userDrawn="1">
            <p:custDataLst>
              <p:tags r:id="rId2"/>
            </p:custDataLst>
            <p:extLst>
              <p:ext uri="{D42A27DB-BD31-4B8C-83A1-F6EECF244321}">
                <p14:modId xmlns:p14="http://schemas.microsoft.com/office/powerpoint/2010/main" val="4048314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108"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3" name="Title 2"/>
          <p:cNvSpPr>
            <a:spLocks noGrp="1"/>
          </p:cNvSpPr>
          <p:nvPr>
            <p:ph type="title" hasCustomPrompt="1"/>
          </p:nvPr>
        </p:nvSpPr>
        <p:spPr>
          <a:xfrm>
            <a:off x="472500" y="2073153"/>
            <a:ext cx="2299300" cy="985733"/>
          </a:xfrm>
        </p:spPr>
        <p:txBody>
          <a:bodyPr vert="horz" anchor="ctr" anchorCtr="0">
            <a:noAutofit/>
          </a:bodyPr>
          <a:lstStyle>
            <a:lvl1pPr rtl="0">
              <a:defRPr sz="3200" baseline="0">
                <a:solidFill>
                  <a:srgbClr val="FFFFFF"/>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20A09BF2-C581-43B1-9B8B-72E3E38A33EA}"/>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DAC81006-FDF1-4387-80BC-56C3201DF67E}"/>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7" name="Copyright" hidden="1">
            <a:extLst>
              <a:ext uri="{FF2B5EF4-FFF2-40B4-BE49-F238E27FC236}">
                <a16:creationId xmlns:a16="http://schemas.microsoft.com/office/drawing/2014/main" id="{F38C24EB-F0E3-4F48-834E-48BA72D260E9}"/>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478281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07015178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47132"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200" b="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9" name="Picture 8" descr="A picture containing graphical user interface&#10;&#10;Description automatically generated">
            <a:extLst>
              <a:ext uri="{FF2B5EF4-FFF2-40B4-BE49-F238E27FC236}">
                <a16:creationId xmlns:a16="http://schemas.microsoft.com/office/drawing/2014/main" id="{B52E80B2-6E86-415C-A152-26F821E51A4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Slide Number Placeholder 28">
            <a:extLst>
              <a:ext uri="{FF2B5EF4-FFF2-40B4-BE49-F238E27FC236}">
                <a16:creationId xmlns:a16="http://schemas.microsoft.com/office/drawing/2014/main" id="{66DB0A60-9654-4401-8DB4-4591D7D5EF8D}"/>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1" name="Copyright" hidden="1">
            <a:extLst>
              <a:ext uri="{FF2B5EF4-FFF2-40B4-BE49-F238E27FC236}">
                <a16:creationId xmlns:a16="http://schemas.microsoft.com/office/drawing/2014/main" id="{716B11F8-DF1D-47A5-9126-57ED82816923}"/>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066052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03FCF47-46BC-4B0B-AB63-47AB05CDD54D}"/>
              </a:ext>
            </a:extLst>
          </p:cNvPr>
          <p:cNvGraphicFramePr>
            <a:graphicFrameLocks noChangeAspect="1"/>
          </p:cNvGraphicFramePr>
          <p:nvPr userDrawn="1">
            <p:custDataLst>
              <p:tags r:id="rId2"/>
            </p:custDataLst>
            <p:extLst>
              <p:ext uri="{D42A27DB-BD31-4B8C-83A1-F6EECF244321}">
                <p14:modId xmlns:p14="http://schemas.microsoft.com/office/powerpoint/2010/main" val="4246550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6"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803FCF47-46BC-4B0B-AB63-47AB05CDD5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4070190" cy="5143500"/>
          </a:xfrm>
          <a:prstGeom prst="homePlate">
            <a:avLst>
              <a:gd name="adj" fmla="val 12939"/>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200" b="0">
                <a:solidFill>
                  <a:srgbClr val="FFFFFF"/>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847AE012-95CF-4746-81DC-F80B8B93AD45}"/>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ED3CAD9B-E731-41FE-A945-B83402BAC27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5" name="Copyright" hidden="1">
            <a:extLst>
              <a:ext uri="{FF2B5EF4-FFF2-40B4-BE49-F238E27FC236}">
                <a16:creationId xmlns:a16="http://schemas.microsoft.com/office/drawing/2014/main" id="{97C87198-B4A2-46CE-8055-137CDEFE1156}"/>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4908606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41305C5-B4B2-4F1B-B75C-2BDF211822FB}"/>
              </a:ext>
            </a:extLst>
          </p:cNvPr>
          <p:cNvGraphicFramePr>
            <a:graphicFrameLocks noChangeAspect="1"/>
          </p:cNvGraphicFramePr>
          <p:nvPr userDrawn="1">
            <p:custDataLst>
              <p:tags r:id="rId2"/>
            </p:custDataLst>
            <p:extLst>
              <p:ext uri="{D42A27DB-BD31-4B8C-83A1-F6EECF244321}">
                <p14:modId xmlns:p14="http://schemas.microsoft.com/office/powerpoint/2010/main" val="168974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80"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941305C5-B4B2-4F1B-B75C-2BDF211822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descr="A picture containing graphical user interface&#10;&#10;Description automatically generated">
            <a:extLst>
              <a:ext uri="{FF2B5EF4-FFF2-40B4-BE49-F238E27FC236}">
                <a16:creationId xmlns:a16="http://schemas.microsoft.com/office/drawing/2014/main" id="{C9F6064C-488A-421F-A266-C81B6A30F2F0}"/>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BF76C93B-CB23-4C52-8585-B0E5FBACA3F9}"/>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238F9428-0072-4500-89B6-544D0C2891B1}"/>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13" name="Title 12">
            <a:extLst>
              <a:ext uri="{FF2B5EF4-FFF2-40B4-BE49-F238E27FC236}">
                <a16:creationId xmlns:a16="http://schemas.microsoft.com/office/drawing/2014/main" id="{AAB17000-4DFA-47B7-9B04-C201AA5111C0}"/>
              </a:ext>
            </a:extLst>
          </p:cNvPr>
          <p:cNvSpPr>
            <a:spLocks noGrp="1"/>
          </p:cNvSpPr>
          <p:nvPr>
            <p:ph type="title"/>
          </p:nvPr>
        </p:nvSpPr>
        <p:spPr>
          <a:xfrm>
            <a:off x="472501" y="300174"/>
            <a:ext cx="3595444" cy="1031051"/>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615834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4D6DB2-A1BE-41D9-99EB-3CD3818821CB}"/>
              </a:ext>
            </a:extLst>
          </p:cNvPr>
          <p:cNvGraphicFramePr>
            <a:graphicFrameLocks noChangeAspect="1"/>
          </p:cNvGraphicFramePr>
          <p:nvPr userDrawn="1">
            <p:custDataLst>
              <p:tags r:id="rId2"/>
            </p:custDataLst>
            <p:extLst>
              <p:ext uri="{D42A27DB-BD31-4B8C-83A1-F6EECF244321}">
                <p14:modId xmlns:p14="http://schemas.microsoft.com/office/powerpoint/2010/main" val="113863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04"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714D6DB2-A1BE-41D9-99EB-3CD3818821C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4772660" cy="5143500"/>
          </a:xfrm>
          <a:prstGeom prst="homePlate">
            <a:avLst>
              <a:gd name="adj" fmla="val 12939"/>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42B8BD63-5CC1-4B94-8C25-C400E7AA1B71}"/>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39CF58BF-E253-4C7B-A1AD-5F34AA5967D1}"/>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5" name="Copyright" hidden="1">
            <a:extLst>
              <a:ext uri="{FF2B5EF4-FFF2-40B4-BE49-F238E27FC236}">
                <a16:creationId xmlns:a16="http://schemas.microsoft.com/office/drawing/2014/main" id="{DD7ADCFB-8A47-4530-B5D2-D4899FABE3DD}"/>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6" name="Title 5">
            <a:extLst>
              <a:ext uri="{FF2B5EF4-FFF2-40B4-BE49-F238E27FC236}">
                <a16:creationId xmlns:a16="http://schemas.microsoft.com/office/drawing/2014/main" id="{17DF5C78-5F99-4DAD-9A75-68325E8268B3}"/>
              </a:ext>
            </a:extLst>
          </p:cNvPr>
          <p:cNvSpPr>
            <a:spLocks noGrp="1"/>
          </p:cNvSpPr>
          <p:nvPr>
            <p:ph type="title"/>
          </p:nvPr>
        </p:nvSpPr>
        <p:spPr>
          <a:xfrm>
            <a:off x="472501" y="300174"/>
            <a:ext cx="3523435" cy="1031051"/>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4476529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53000">
              <a:srgbClr val="A8BCCF"/>
            </a:gs>
            <a:gs pos="4000">
              <a:srgbClr val="4C7895"/>
            </a:gs>
            <a:gs pos="92000">
              <a:srgbClr val="F2F2F2"/>
            </a:gs>
          </a:gsLst>
          <a:lin ang="16200000" scaled="1"/>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0509FF-07D2-4178-855D-3E4025DCD21A}"/>
              </a:ext>
            </a:extLst>
          </p:cNvPr>
          <p:cNvGraphicFramePr>
            <a:graphicFrameLocks noChangeAspect="1"/>
          </p:cNvGraphicFramePr>
          <p:nvPr userDrawn="1">
            <p:custDataLst>
              <p:tags r:id="rId2"/>
            </p:custDataLst>
            <p:extLst>
              <p:ext uri="{D42A27DB-BD31-4B8C-83A1-F6EECF244321}">
                <p14:modId xmlns:p14="http://schemas.microsoft.com/office/powerpoint/2010/main" val="4266154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8"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3C0509FF-07D2-4178-855D-3E4025DCD2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descr="A picture containing graphical user interface&#10;&#10;Description automatically generated">
            <a:extLst>
              <a:ext uri="{FF2B5EF4-FFF2-40B4-BE49-F238E27FC236}">
                <a16:creationId xmlns:a16="http://schemas.microsoft.com/office/drawing/2014/main" id="{CB20BDB0-C68E-4DAC-9774-BAC28AA8E38C}"/>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4" name="Slide Number Placeholder 28">
            <a:extLst>
              <a:ext uri="{FF2B5EF4-FFF2-40B4-BE49-F238E27FC236}">
                <a16:creationId xmlns:a16="http://schemas.microsoft.com/office/drawing/2014/main" id="{4935D2C7-8543-4756-A644-207AE1AA3817}"/>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4" name="Title 3">
            <a:extLst>
              <a:ext uri="{FF2B5EF4-FFF2-40B4-BE49-F238E27FC236}">
                <a16:creationId xmlns:a16="http://schemas.microsoft.com/office/drawing/2014/main" id="{488A78A9-DD59-4A68-871B-3753DCF53CE3}"/>
              </a:ext>
            </a:extLst>
          </p:cNvPr>
          <p:cNvSpPr>
            <a:spLocks noGrp="1"/>
          </p:cNvSpPr>
          <p:nvPr>
            <p:ph type="title"/>
          </p:nvPr>
        </p:nvSpPr>
        <p:spPr>
          <a:xfrm>
            <a:off x="472501" y="300174"/>
            <a:ext cx="5179620" cy="1031051"/>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7701048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10F249-6E15-4E6C-B46C-EB96BE35D57F}"/>
              </a:ext>
            </a:extLst>
          </p:cNvPr>
          <p:cNvGraphicFramePr>
            <a:graphicFrameLocks noChangeAspect="1"/>
          </p:cNvGraphicFramePr>
          <p:nvPr userDrawn="1">
            <p:custDataLst>
              <p:tags r:id="rId2"/>
            </p:custDataLst>
            <p:extLst>
              <p:ext uri="{D42A27DB-BD31-4B8C-83A1-F6EECF244321}">
                <p14:modId xmlns:p14="http://schemas.microsoft.com/office/powerpoint/2010/main" val="3984779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rtl="0">
              <a:buNone/>
              <a:defRPr sz="1200">
                <a:solidFill>
                  <a:srgbClr val="0A4E78"/>
                </a:solidFill>
                <a:latin typeface="+mn-lt"/>
                <a:ea typeface="+mn-ea"/>
                <a:cs typeface="+mn-cs"/>
                <a:sym typeface="Novel Sans Pro" panose="02000000000000000000" pitchFamily="50"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de-DE" dirty="0"/>
              <a:t>Click </a:t>
            </a:r>
            <a:r>
              <a:rPr lang="de-DE" dirty="0" err="1"/>
              <a:t>to</a:t>
            </a:r>
            <a:r>
              <a:rPr lang="de-DE" dirty="0"/>
              <a:t> </a:t>
            </a:r>
            <a:r>
              <a:rPr lang="de-DE" dirty="0" err="1"/>
              <a:t>add</a:t>
            </a:r>
            <a:r>
              <a:rPr lang="de-DE" dirty="0"/>
              <a:t> </a:t>
            </a:r>
            <a:r>
              <a:rPr lang="de-DE" dirty="0" err="1"/>
              <a:t>subtitle</a:t>
            </a:r>
            <a:endParaRPr lang="de-DE" dirty="0"/>
          </a:p>
        </p:txBody>
      </p:sp>
      <p:sp>
        <p:nvSpPr>
          <p:cNvPr id="9" name="Title 4"/>
          <p:cNvSpPr>
            <a:spLocks noGrp="1"/>
          </p:cNvSpPr>
          <p:nvPr>
            <p:ph type="title" hasCustomPrompt="1"/>
          </p:nvPr>
        </p:nvSpPr>
        <p:spPr>
          <a:xfrm>
            <a:off x="472500" y="920286"/>
            <a:ext cx="2808000" cy="498598"/>
          </a:xfrm>
        </p:spPr>
        <p:txBody>
          <a:bodyPr vert="horz" anchor="t">
            <a:noAutofit/>
          </a:bodyPr>
          <a:lstStyle>
            <a:lvl1pPr rtl="0">
              <a:defRPr sz="240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10" name="Picture 9" descr="A picture containing graphical user interface&#10;&#10;Description automatically generated">
            <a:extLst>
              <a:ext uri="{FF2B5EF4-FFF2-40B4-BE49-F238E27FC236}">
                <a16:creationId xmlns:a16="http://schemas.microsoft.com/office/drawing/2014/main" id="{4D0D1356-3CE4-4F6B-A037-25B79345ED71}"/>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Copyright" hidden="1">
            <a:extLst>
              <a:ext uri="{FF2B5EF4-FFF2-40B4-BE49-F238E27FC236}">
                <a16:creationId xmlns:a16="http://schemas.microsoft.com/office/drawing/2014/main" id="{F483DC18-167A-4371-B7CA-20669F482E51}"/>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3" name="Rectangle 12">
            <a:extLst>
              <a:ext uri="{FF2B5EF4-FFF2-40B4-BE49-F238E27FC236}">
                <a16:creationId xmlns:a16="http://schemas.microsoft.com/office/drawing/2014/main" id="{47030C66-DB76-42C0-AACE-1B18B62706CE}"/>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4225241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51806A-5D26-4B0B-BE55-017735D67BC5}"/>
              </a:ext>
            </a:extLst>
          </p:cNvPr>
          <p:cNvGraphicFramePr>
            <a:graphicFrameLocks noChangeAspect="1"/>
          </p:cNvGraphicFramePr>
          <p:nvPr userDrawn="1">
            <p:custDataLst>
              <p:tags r:id="rId2"/>
            </p:custDataLst>
            <p:extLst>
              <p:ext uri="{D42A27DB-BD31-4B8C-83A1-F6EECF244321}">
                <p14:modId xmlns:p14="http://schemas.microsoft.com/office/powerpoint/2010/main" val="1043128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52"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0951806A-5D26-4B0B-BE55-017735D67BC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0" name="Picture 9" descr="A picture containing graphical user interface&#10;&#10;Description automatically generated">
            <a:extLst>
              <a:ext uri="{FF2B5EF4-FFF2-40B4-BE49-F238E27FC236}">
                <a16:creationId xmlns:a16="http://schemas.microsoft.com/office/drawing/2014/main" id="{25AB94AD-69B1-4E09-8B24-A01D7024BF65}"/>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3" name="Slide Number Placeholder 28">
            <a:extLst>
              <a:ext uri="{FF2B5EF4-FFF2-40B4-BE49-F238E27FC236}">
                <a16:creationId xmlns:a16="http://schemas.microsoft.com/office/drawing/2014/main" id="{5CD62FE8-CC9E-4648-BB9E-68C931CC00D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864A3B1A-5D0E-442F-B1EF-EDB7BC14E6F2}"/>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4" name="Title 3">
            <a:extLst>
              <a:ext uri="{FF2B5EF4-FFF2-40B4-BE49-F238E27FC236}">
                <a16:creationId xmlns:a16="http://schemas.microsoft.com/office/drawing/2014/main" id="{3B7AA13F-4F75-4D1F-9D5F-A73C648826E5}"/>
              </a:ext>
            </a:extLst>
          </p:cNvPr>
          <p:cNvSpPr>
            <a:spLocks noGrp="1"/>
          </p:cNvSpPr>
          <p:nvPr>
            <p:ph type="title"/>
          </p:nvPr>
        </p:nvSpPr>
        <p:spPr>
          <a:xfrm>
            <a:off x="472501" y="300174"/>
            <a:ext cx="5179620" cy="1031051"/>
          </a:xfrm>
        </p:spPr>
        <p:txBody>
          <a:bodyPr vert="horz"/>
          <a:lstStyle>
            <a:lvl1pPr rtl="0">
              <a:defRPr sz="3200">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39620448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53000">
              <a:srgbClr val="A8BCCF"/>
            </a:gs>
            <a:gs pos="4000">
              <a:srgbClr val="4C7895"/>
            </a:gs>
            <a:gs pos="92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35B0E9F-7E4A-43D5-A5B2-FC642686363C}"/>
              </a:ext>
            </a:extLst>
          </p:cNvPr>
          <p:cNvGraphicFramePr>
            <a:graphicFrameLocks noChangeAspect="1"/>
          </p:cNvGraphicFramePr>
          <p:nvPr userDrawn="1">
            <p:custDataLst>
              <p:tags r:id="rId2"/>
            </p:custDataLst>
            <p:extLst>
              <p:ext uri="{D42A27DB-BD31-4B8C-83A1-F6EECF244321}">
                <p14:modId xmlns:p14="http://schemas.microsoft.com/office/powerpoint/2010/main" val="37947119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76" name="think-cell Slide" r:id="rId4" imgW="347" imgH="348" progId="TCLayout.ActiveDocument.1">
                  <p:embed/>
                </p:oleObj>
              </mc:Choice>
              <mc:Fallback>
                <p:oleObj name="think-cell Slide" r:id="rId4" imgW="347" imgH="348" progId="TCLayout.ActiveDocument.1">
                  <p:embed/>
                  <p:pic>
                    <p:nvPicPr>
                      <p:cNvPr id="5" name="Object 4" hidden="1">
                        <a:extLst>
                          <a:ext uri="{FF2B5EF4-FFF2-40B4-BE49-F238E27FC236}">
                            <a16:creationId xmlns:a16="http://schemas.microsoft.com/office/drawing/2014/main" id="{D35B0E9F-7E4A-43D5-A5B2-FC64268636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pic>
        <p:nvPicPr>
          <p:cNvPr id="7" name="Picture 6" descr="A picture containing graphical user interface&#10;&#10;Description automatically generated">
            <a:extLst>
              <a:ext uri="{FF2B5EF4-FFF2-40B4-BE49-F238E27FC236}">
                <a16:creationId xmlns:a16="http://schemas.microsoft.com/office/drawing/2014/main" id="{4B0700F9-5974-46C5-9EE4-6F20673ACB81}"/>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Slide Number Placeholder 28">
            <a:extLst>
              <a:ext uri="{FF2B5EF4-FFF2-40B4-BE49-F238E27FC236}">
                <a16:creationId xmlns:a16="http://schemas.microsoft.com/office/drawing/2014/main" id="{3FC97092-9B82-4B78-A00B-B634771C63F4}"/>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1" name="Copyright" hidden="1">
            <a:extLst>
              <a:ext uri="{FF2B5EF4-FFF2-40B4-BE49-F238E27FC236}">
                <a16:creationId xmlns:a16="http://schemas.microsoft.com/office/drawing/2014/main" id="{6AB01545-968B-4C15-B999-7AB07350E3D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6830623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4FC05E2-CC35-4DE4-BBD9-826AB4661D39}"/>
              </a:ext>
            </a:extLst>
          </p:cNvPr>
          <p:cNvGraphicFramePr>
            <a:graphicFrameLocks noChangeAspect="1"/>
          </p:cNvGraphicFramePr>
          <p:nvPr userDrawn="1">
            <p:custDataLst>
              <p:tags r:id="rId2"/>
            </p:custDataLst>
            <p:extLst>
              <p:ext uri="{D42A27DB-BD31-4B8C-83A1-F6EECF244321}">
                <p14:modId xmlns:p14="http://schemas.microsoft.com/office/powerpoint/2010/main" val="1081036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300"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24FC05E2-CC35-4DE4-BBD9-826AB4661D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p:cNvSpPr/>
          <p:nvPr userDrawn="1"/>
        </p:nvSpPr>
        <p:spPr bwMode="white">
          <a:xfrm>
            <a:off x="472500" y="469106"/>
            <a:ext cx="699516" cy="699516"/>
          </a:xfrm>
          <a:prstGeom prst="rect">
            <a:avLst/>
          </a:prstGeom>
          <a:noFill/>
          <a:ln w="9525">
            <a:solidFill>
              <a:srgbClr val="0A4E78"/>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big</a:t>
            </a:r>
            <a:r>
              <a:rPr lang="de-DE" dirty="0"/>
              <a:t> </a:t>
            </a:r>
            <a:r>
              <a:rPr lang="de-DE" dirty="0" err="1"/>
              <a:t>statement</a:t>
            </a:r>
            <a:r>
              <a:rPr lang="de-DE" dirty="0"/>
              <a:t> </a:t>
            </a:r>
            <a:r>
              <a:rPr lang="de-DE" dirty="0" err="1"/>
              <a:t>text</a:t>
            </a:r>
            <a:endParaRPr lang="de-DE" dirty="0"/>
          </a:p>
        </p:txBody>
      </p:sp>
      <p:pic>
        <p:nvPicPr>
          <p:cNvPr id="8" name="Picture 7" descr="A picture containing graphical user interface&#10;&#10;Description automatically generated">
            <a:extLst>
              <a:ext uri="{FF2B5EF4-FFF2-40B4-BE49-F238E27FC236}">
                <a16:creationId xmlns:a16="http://schemas.microsoft.com/office/drawing/2014/main" id="{9BFA3842-2380-4697-ABD7-6F6DC987C633}"/>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Copyright" hidden="1">
            <a:extLst>
              <a:ext uri="{FF2B5EF4-FFF2-40B4-BE49-F238E27FC236}">
                <a16:creationId xmlns:a16="http://schemas.microsoft.com/office/drawing/2014/main" id="{5FA4C702-CA7B-451E-B111-C2AF9E2D391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2" name="Rectangle 11">
            <a:extLst>
              <a:ext uri="{FF2B5EF4-FFF2-40B4-BE49-F238E27FC236}">
                <a16:creationId xmlns:a16="http://schemas.microsoft.com/office/drawing/2014/main" id="{8FB474AA-1DB5-482D-BEBA-674626C3B228}"/>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1964499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A4E78"/>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6651912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55324" name="think-cell Slide" r:id="rId4" imgW="324" imgH="324" progId="TCLayout.ActiveDocument.1">
                  <p:embed/>
                </p:oleObj>
              </mc:Choice>
              <mc:Fallback>
                <p:oleObj name="think-cell Slide" r:id="rId4" imgW="324" imgH="324"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6">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pic>
        <p:nvPicPr>
          <p:cNvPr id="8" name="Picture 7" descr="A picture containing graphical user interface&#10;&#10;Description automatically generated">
            <a:extLst>
              <a:ext uri="{FF2B5EF4-FFF2-40B4-BE49-F238E27FC236}">
                <a16:creationId xmlns:a16="http://schemas.microsoft.com/office/drawing/2014/main" id="{A072B9CD-DB93-4DB0-A05A-C9761909B485}"/>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Slide Number Placeholder 28">
            <a:extLst>
              <a:ext uri="{FF2B5EF4-FFF2-40B4-BE49-F238E27FC236}">
                <a16:creationId xmlns:a16="http://schemas.microsoft.com/office/drawing/2014/main" id="{4CF58CAD-AA13-4803-8093-A6A9C303B642}"/>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0" name="Rectangle 9">
            <a:extLst>
              <a:ext uri="{FF2B5EF4-FFF2-40B4-BE49-F238E27FC236}">
                <a16:creationId xmlns:a16="http://schemas.microsoft.com/office/drawing/2014/main" id="{15EE215A-D9CC-41DE-9165-E9D40277220F}"/>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30433140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377CF61-0D03-4636-9B25-8E0A9DFAA9B9}"/>
              </a:ext>
            </a:extLst>
          </p:cNvPr>
          <p:cNvGraphicFramePr>
            <a:graphicFrameLocks noChangeAspect="1"/>
          </p:cNvGraphicFramePr>
          <p:nvPr userDrawn="1">
            <p:custDataLst>
              <p:tags r:id="rId2"/>
            </p:custDataLst>
            <p:extLst>
              <p:ext uri="{D42A27DB-BD31-4B8C-83A1-F6EECF244321}">
                <p14:modId xmlns:p14="http://schemas.microsoft.com/office/powerpoint/2010/main" val="176797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48" name="think-cell Slide" r:id="rId4" imgW="347" imgH="348" progId="TCLayout.ActiveDocument.1">
                  <p:embed/>
                </p:oleObj>
              </mc:Choice>
              <mc:Fallback>
                <p:oleObj name="think-cell Slide" r:id="rId4" imgW="347" imgH="348" progId="TCLayout.ActiveDocument.1">
                  <p:embed/>
                  <p:pic>
                    <p:nvPicPr>
                      <p:cNvPr id="6" name="Object 5" hidden="1">
                        <a:extLst>
                          <a:ext uri="{FF2B5EF4-FFF2-40B4-BE49-F238E27FC236}">
                            <a16:creationId xmlns:a16="http://schemas.microsoft.com/office/drawing/2014/main" id="{D377CF61-0D03-4636-9B25-8E0A9DFAA9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28">
            <a:extLst>
              <a:ext uri="{FF2B5EF4-FFF2-40B4-BE49-F238E27FC236}">
                <a16:creationId xmlns:a16="http://schemas.microsoft.com/office/drawing/2014/main" id="{C135BBC8-E9BA-4AE1-8E0F-A08AB6B68EEB}"/>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9" name="Copyright" hidden="1">
            <a:extLst>
              <a:ext uri="{FF2B5EF4-FFF2-40B4-BE49-F238E27FC236}">
                <a16:creationId xmlns:a16="http://schemas.microsoft.com/office/drawing/2014/main" id="{99A7C1A2-964D-4C13-87B6-CAF63956298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10" name="Title 9">
            <a:extLst>
              <a:ext uri="{FF2B5EF4-FFF2-40B4-BE49-F238E27FC236}">
                <a16:creationId xmlns:a16="http://schemas.microsoft.com/office/drawing/2014/main" id="{475736A7-A051-4A47-991A-CD1053BB9D21}"/>
              </a:ext>
            </a:extLst>
          </p:cNvPr>
          <p:cNvSpPr>
            <a:spLocks noGrp="1"/>
          </p:cNvSpPr>
          <p:nvPr>
            <p:ph type="title"/>
          </p:nvPr>
        </p:nvSpPr>
        <p:spPr>
          <a:xfrm>
            <a:off x="472500" y="300174"/>
            <a:ext cx="6331747" cy="538609"/>
          </a:xfrm>
        </p:spPr>
        <p:txBody>
          <a:bodyPr vert="horz"/>
          <a:lstStyle>
            <a:lvl1pPr rtl="0">
              <a:defRPr sz="3200">
                <a:solidFill>
                  <a:schemeClr val="bg1"/>
                </a:solidFill>
                <a:latin typeface="+mj-lt"/>
                <a:ea typeface="+mj-ea"/>
                <a:cs typeface="+mj-cs"/>
                <a:sym typeface="Novel Sans Pro" panose="02000000000000000000" pitchFamily="50" charset="0"/>
              </a:defRPr>
            </a:lvl1pPr>
          </a:lstStyle>
          <a:p>
            <a:r>
              <a:rPr lang="de-DE" dirty="0"/>
              <a:t>Click to edit Master title style</a:t>
            </a:r>
          </a:p>
        </p:txBody>
      </p:sp>
      <p:sp>
        <p:nvSpPr>
          <p:cNvPr id="17" name="Rectangle 16">
            <a:extLst>
              <a:ext uri="{FF2B5EF4-FFF2-40B4-BE49-F238E27FC236}">
                <a16:creationId xmlns:a16="http://schemas.microsoft.com/office/drawing/2014/main" id="{31671F09-9683-43D2-BB5B-6C1DC57783ED}"/>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184830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0BC4104-67EA-4A44-B08D-8E5F688936B8}"/>
              </a:ext>
            </a:extLst>
          </p:cNvPr>
          <p:cNvGraphicFramePr>
            <a:graphicFrameLocks noChangeAspect="1"/>
          </p:cNvGraphicFramePr>
          <p:nvPr userDrawn="1">
            <p:custDataLst>
              <p:tags r:id="rId2"/>
            </p:custDataLst>
            <p:extLst>
              <p:ext uri="{D42A27DB-BD31-4B8C-83A1-F6EECF244321}">
                <p14:modId xmlns:p14="http://schemas.microsoft.com/office/powerpoint/2010/main" val="2255116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2"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graphical user interface&#10;&#10;Description automatically generated">
            <a:extLst>
              <a:ext uri="{FF2B5EF4-FFF2-40B4-BE49-F238E27FC236}">
                <a16:creationId xmlns:a16="http://schemas.microsoft.com/office/drawing/2014/main" id="{97E4B5B3-F853-45D8-A0F1-56A9E524D5D9}"/>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Copyright" hidden="1">
            <a:extLst>
              <a:ext uri="{FF2B5EF4-FFF2-40B4-BE49-F238E27FC236}">
                <a16:creationId xmlns:a16="http://schemas.microsoft.com/office/drawing/2014/main" id="{DD5D6775-1593-4FF1-8F52-489CE03905D0}"/>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9" name="Rectangle 8">
            <a:extLst>
              <a:ext uri="{FF2B5EF4-FFF2-40B4-BE49-F238E27FC236}">
                <a16:creationId xmlns:a16="http://schemas.microsoft.com/office/drawing/2014/main" id="{EE5E76ED-5D0F-4BED-BFA0-81534737ECD4}"/>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2539608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53000">
              <a:srgbClr val="A8BCCF"/>
            </a:gs>
            <a:gs pos="4000">
              <a:srgbClr val="4C7895"/>
            </a:gs>
            <a:gs pos="92000">
              <a:srgbClr val="F2F2F2"/>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5593A55-62E0-4BD7-AD4F-F7390BF9E40D}"/>
              </a:ext>
            </a:extLst>
          </p:cNvPr>
          <p:cNvGraphicFramePr>
            <a:graphicFrameLocks noChangeAspect="1"/>
          </p:cNvGraphicFramePr>
          <p:nvPr userDrawn="1">
            <p:custDataLst>
              <p:tags r:id="rId2"/>
            </p:custDataLst>
            <p:extLst>
              <p:ext uri="{D42A27DB-BD31-4B8C-83A1-F6EECF244321}">
                <p14:modId xmlns:p14="http://schemas.microsoft.com/office/powerpoint/2010/main" val="428745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96"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descr="A picture containing graphical user interface&#10;&#10;Description automatically generated">
            <a:extLst>
              <a:ext uri="{FF2B5EF4-FFF2-40B4-BE49-F238E27FC236}">
                <a16:creationId xmlns:a16="http://schemas.microsoft.com/office/drawing/2014/main" id="{03A269E1-DB63-43D2-AA70-E448AE944D81}"/>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Slide Number Placeholder 28">
            <a:extLst>
              <a:ext uri="{FF2B5EF4-FFF2-40B4-BE49-F238E27FC236}">
                <a16:creationId xmlns:a16="http://schemas.microsoft.com/office/drawing/2014/main" id="{E8AA2F74-00D8-4C33-A401-D57DCECF3D09}"/>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0" name="Copyright" hidden="1">
            <a:extLst>
              <a:ext uri="{FF2B5EF4-FFF2-40B4-BE49-F238E27FC236}">
                <a16:creationId xmlns:a16="http://schemas.microsoft.com/office/drawing/2014/main" id="{8C1A2113-FA18-4BF9-85F9-99BC12791CF8}"/>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6774489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1C5060E-0A23-41F4-B518-1AAFC66D3C49}"/>
              </a:ext>
            </a:extLst>
          </p:cNvPr>
          <p:cNvGraphicFramePr>
            <a:graphicFrameLocks noChangeAspect="1"/>
          </p:cNvGraphicFramePr>
          <p:nvPr userDrawn="1">
            <p:custDataLst>
              <p:tags r:id="rId2"/>
            </p:custDataLst>
            <p:extLst>
              <p:ext uri="{D42A27DB-BD31-4B8C-83A1-F6EECF244321}">
                <p14:modId xmlns:p14="http://schemas.microsoft.com/office/powerpoint/2010/main" val="116145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20"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descr="A picture containing graphical user interface&#10;&#10;Description automatically generated">
            <a:extLst>
              <a:ext uri="{FF2B5EF4-FFF2-40B4-BE49-F238E27FC236}">
                <a16:creationId xmlns:a16="http://schemas.microsoft.com/office/drawing/2014/main" id="{C6F45373-C5F8-45B1-998B-42E43532D551}"/>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Copyright" hidden="1">
            <a:extLst>
              <a:ext uri="{FF2B5EF4-FFF2-40B4-BE49-F238E27FC236}">
                <a16:creationId xmlns:a16="http://schemas.microsoft.com/office/drawing/2014/main" id="{A3FB7B3A-CB26-4F71-9480-1CCAC851D126}"/>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2" name="Rectangle 11">
            <a:extLst>
              <a:ext uri="{FF2B5EF4-FFF2-40B4-BE49-F238E27FC236}">
                <a16:creationId xmlns:a16="http://schemas.microsoft.com/office/drawing/2014/main" id="{8CBE3D9E-7C4E-40BB-969F-99D1BAB571CB}"/>
              </a:ext>
            </a:extLst>
          </p:cNvPr>
          <p:cNvSpPr/>
          <p:nvPr userDrawn="1"/>
        </p:nvSpPr>
        <p:spPr>
          <a:xfrm>
            <a:off x="3875440" y="1583587"/>
            <a:ext cx="4584992" cy="2446824"/>
          </a:xfrm>
          <a:prstGeom prst="rect">
            <a:avLst/>
          </a:prstGeom>
        </p:spPr>
        <p:txBody>
          <a:bodyPr wrap="square" lIns="0" tIns="0" rIns="0" bIns="0" anchor="ctr">
            <a:spAutoFit/>
          </a:bodyPr>
          <a:lstStyle/>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ie von der Boston Consulting Group (BCG) erbrachten Leistungen und bereitgestellten Dokumente unterliegen den Geschäftsbedingungen von BCG (die wir auf Wunsch zur Verfügung stellen) oder einer sonstigen mit BCG getroffenen entsprechenden Vereinbarung. BCG erbringt keinerlei Beratung in rechtlichen, </a:t>
            </a:r>
            <a:r>
              <a:rPr lang="de-DE" sz="600" b="0" dirty="0" err="1">
                <a:solidFill>
                  <a:srgbClr val="0A4E78"/>
                </a:solidFill>
                <a:latin typeface="+mn-lt"/>
                <a:ea typeface="+mn-ea"/>
                <a:cs typeface="+mn-cs"/>
                <a:sym typeface="Novel Sans Pro" panose="02000000000000000000" pitchFamily="50" charset="0"/>
              </a:rPr>
              <a:t>rechnungswesenbezogenen</a:t>
            </a:r>
            <a:r>
              <a:rPr lang="de-DE" sz="600" b="0" dirty="0">
                <a:solidFill>
                  <a:srgbClr val="0A4E78"/>
                </a:solidFill>
                <a:latin typeface="+mn-lt"/>
                <a:ea typeface="+mn-ea"/>
                <a:cs typeface="+mn-cs"/>
                <a:sym typeface="Novel Sans Pro" panose="02000000000000000000" pitchFamily="50" charset="0"/>
              </a:rPr>
              <a:t> oder steuerlichen Fragen. Der Kunde ist dafür verantwortlich, zu diesen Themen unabhängige Beratung einzuholen, durch welche sich Auswirkungen auf die Empfehlungen von BCG ergeben können. Seitens BCG besteht keinerlei Verpflichtung, Aktualisierungen an den bereitgestellten Arbeitsergebnissen vorzunehmen, ungeachtet dessen, </a:t>
            </a:r>
            <a:r>
              <a:rPr lang="de-DE" sz="600" b="0" dirty="0" err="1">
                <a:solidFill>
                  <a:srgbClr val="0A4E78"/>
                </a:solidFill>
                <a:latin typeface="+mn-lt"/>
                <a:ea typeface="+mn-ea"/>
                <a:cs typeface="+mn-cs"/>
                <a:sym typeface="Novel Sans Pro" panose="02000000000000000000" pitchFamily="50" charset="0"/>
              </a:rPr>
              <a:t>dass</a:t>
            </a:r>
            <a:r>
              <a:rPr lang="de-DE" sz="600" b="0" dirty="0">
                <a:solidFill>
                  <a:srgbClr val="0A4E78"/>
                </a:solidFill>
                <a:latin typeface="+mn-lt"/>
                <a:ea typeface="+mn-ea"/>
                <a:cs typeface="+mn-cs"/>
                <a:sym typeface="Novel Sans Pro" panose="02000000000000000000" pitchFamily="50" charset="0"/>
              </a:rPr>
              <a:t> die darin enthaltenen Informationen sich als überholt oder ungenau erweisen könnten.</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ie Inhalte dieser Präsentation sind ausschließlich für den Vorstand oder die Unternehmensleitung des Kunden bestimmt und dienen allein den in der Präsentation genannten Zwecken. Die Arbeitsergebnisse dürfen ohne vorherige schriftliche Zustimmung durch BCG weder kopiert noch an natürliche oder juristische Personen außerhalb der Kundenorganisation („Dritte“) weitergegeben werden. Die Arbeitsergebnisse sind ausschließlich als Diskussionsgrundlage konzipiert und ohne begleitende mündliche Erläuterungen unvollständig. Sie dürfen daher nur im Zusammenhang mit dem Vortrag gesehen werden. </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Des Weiteren ist es Dritten nicht erlaubt und für sie nicht angemessen, sich, für welchen Zweck auch immer, auf diese Arbeitsergebnisse zu beziehen. Soweit gesetzlich zulässig (und sofern von BCG nicht ausdrücklich schriftlich etwas anderes zugesagt wurde), übernimmt BCG keinerlei Haftung gegenüber Dritten. Dritte verzichten auf die Geltend-machung jeglicher Rechte und Ansprüche gegenüber BCG im Hinblick auf die erbrachten Leistungen, diese Präsentation oder sonstige Arbeitsergebnisse einschließlich deren Korrektheit oder Vollständigkeit. Erhalt und Kenntnisnahme dieses Dokuments gelten als Zustimmung hierzu. </a:t>
            </a:r>
          </a:p>
          <a:p>
            <a:pPr rtl="0">
              <a:spcBef>
                <a:spcPts val="0"/>
              </a:spcBef>
              <a:spcAft>
                <a:spcPts val="600"/>
              </a:spcAft>
            </a:pPr>
            <a:r>
              <a:rPr lang="de-DE" sz="600" b="0" dirty="0">
                <a:solidFill>
                  <a:srgbClr val="0A4E78"/>
                </a:solidFill>
                <a:latin typeface="+mn-lt"/>
                <a:ea typeface="+mn-ea"/>
                <a:cs typeface="+mn-cs"/>
                <a:sym typeface="Novel Sans Pro" panose="02000000000000000000" pitchFamily="50" charset="0"/>
              </a:rPr>
              <a:t>BCG erstellt keine Gutachten („</a:t>
            </a:r>
            <a:r>
              <a:rPr lang="de-DE" sz="600" b="0" dirty="0" err="1">
                <a:solidFill>
                  <a:srgbClr val="0A4E78"/>
                </a:solidFill>
                <a:latin typeface="+mn-lt"/>
                <a:ea typeface="+mn-ea"/>
                <a:cs typeface="+mn-cs"/>
                <a:sym typeface="Novel Sans Pro" panose="02000000000000000000" pitchFamily="50" charset="0"/>
              </a:rPr>
              <a:t>Fairness</a:t>
            </a:r>
            <a:r>
              <a:rPr lang="de-DE" sz="600" b="0" dirty="0">
                <a:solidFill>
                  <a:srgbClr val="0A4E78"/>
                </a:solidFill>
                <a:latin typeface="+mn-lt"/>
                <a:ea typeface="+mn-ea"/>
                <a:cs typeface="+mn-cs"/>
                <a:sym typeface="Novel Sans Pro" panose="02000000000000000000" pitchFamily="50" charset="0"/>
              </a:rPr>
              <a:t> </a:t>
            </a:r>
            <a:r>
              <a:rPr lang="de-DE" sz="600" b="0" dirty="0" err="1">
                <a:solidFill>
                  <a:srgbClr val="0A4E78"/>
                </a:solidFill>
                <a:latin typeface="+mn-lt"/>
                <a:ea typeface="+mn-ea"/>
                <a:cs typeface="+mn-cs"/>
                <a:sym typeface="Novel Sans Pro" panose="02000000000000000000" pitchFamily="50" charset="0"/>
              </a:rPr>
              <a:t>Opinions</a:t>
            </a:r>
            <a:r>
              <a:rPr lang="de-DE" sz="600" b="0" dirty="0">
                <a:solidFill>
                  <a:srgbClr val="0A4E78"/>
                </a:solidFill>
                <a:latin typeface="+mn-lt"/>
                <a:ea typeface="+mn-ea"/>
                <a:cs typeface="+mn-cs"/>
                <a:sym typeface="Novel Sans Pro" panose="02000000000000000000" pitchFamily="50" charset="0"/>
              </a:rPr>
              <a:t>“) oder Bewertungen zu Markttransaktionen. Die Arbeitsergebnisse sollten daher nicht als solche genutzt oder </a:t>
            </a:r>
            <a:r>
              <a:rPr lang="de-DE" sz="600" b="0" dirty="0" err="1">
                <a:solidFill>
                  <a:srgbClr val="0A4E78"/>
                </a:solidFill>
                <a:latin typeface="+mn-lt"/>
                <a:ea typeface="+mn-ea"/>
                <a:cs typeface="+mn-cs"/>
                <a:sym typeface="Novel Sans Pro" panose="02000000000000000000" pitchFamily="50" charset="0"/>
              </a:rPr>
              <a:t>aufgefasst</a:t>
            </a:r>
            <a:r>
              <a:rPr lang="de-DE" sz="600" b="0" dirty="0">
                <a:solidFill>
                  <a:srgbClr val="0A4E78"/>
                </a:solidFill>
                <a:latin typeface="+mn-lt"/>
                <a:ea typeface="+mn-ea"/>
                <a:cs typeface="+mn-cs"/>
                <a:sym typeface="Novel Sans Pro" panose="02000000000000000000" pitchFamily="50" charset="0"/>
              </a:rPr>
              <a:t> werden. Die in den Arbeitsergebnissen enthaltenen finanziellen Bewertungen, prognostizierten Markt- und Finanzdaten sowie </a:t>
            </a:r>
            <a:r>
              <a:rPr lang="de-DE" sz="600" b="0" dirty="0" err="1">
                <a:solidFill>
                  <a:srgbClr val="0A4E78"/>
                </a:solidFill>
                <a:latin typeface="+mn-lt"/>
                <a:ea typeface="+mn-ea"/>
                <a:cs typeface="+mn-cs"/>
                <a:sym typeface="Novel Sans Pro" panose="02000000000000000000" pitchFamily="50" charset="0"/>
              </a:rPr>
              <a:t>Schlussfolgerungen</a:t>
            </a:r>
            <a:r>
              <a:rPr lang="de-DE" sz="600" b="0" dirty="0">
                <a:solidFill>
                  <a:srgbClr val="0A4E78"/>
                </a:solidFill>
                <a:latin typeface="+mn-lt"/>
                <a:ea typeface="+mn-ea"/>
                <a:cs typeface="+mn-cs"/>
                <a:sym typeface="Novel Sans Pro" panose="02000000000000000000" pitchFamily="50" charset="0"/>
              </a:rPr>
              <a:t> basieren auf marktüblichen Bewertungsmethoden. Sie stellen keine endgültigen Vorhersagen dar und werden von BCG nicht zugesichert. BCG hat öffentlich zugängliche und/oder vertrauliche Daten und Annahmen, die BCG vom Kunden zur Verfügung gestellt wurden, verwendet. Eine eigenständige Überprüfung dieser Daten und Annahmen durch BCG ist nicht erfolgt. Sollten sich zugrunde liegende Daten oder operative Annahmen ändern, kann dies auch </a:t>
            </a:r>
            <a:r>
              <a:rPr lang="de-DE" sz="600" b="0" dirty="0" err="1">
                <a:solidFill>
                  <a:srgbClr val="0A4E78"/>
                </a:solidFill>
                <a:latin typeface="+mn-lt"/>
                <a:ea typeface="+mn-ea"/>
                <a:cs typeface="+mn-cs"/>
                <a:sym typeface="Novel Sans Pro" panose="02000000000000000000" pitchFamily="50" charset="0"/>
              </a:rPr>
              <a:t>Einfluss</a:t>
            </a:r>
            <a:r>
              <a:rPr lang="de-DE" sz="600" b="0" dirty="0">
                <a:solidFill>
                  <a:srgbClr val="0A4E78"/>
                </a:solidFill>
                <a:latin typeface="+mn-lt"/>
                <a:ea typeface="+mn-ea"/>
                <a:cs typeface="+mn-cs"/>
                <a:sym typeface="Novel Sans Pro" panose="02000000000000000000" pitchFamily="50" charset="0"/>
              </a:rPr>
              <a:t> auf die Analysen und </a:t>
            </a:r>
            <a:r>
              <a:rPr lang="de-DE" sz="600" b="0" dirty="0" err="1">
                <a:solidFill>
                  <a:srgbClr val="0A4E78"/>
                </a:solidFill>
                <a:latin typeface="+mn-lt"/>
                <a:ea typeface="+mn-ea"/>
                <a:cs typeface="+mn-cs"/>
                <a:sym typeface="Novel Sans Pro" panose="02000000000000000000" pitchFamily="50" charset="0"/>
              </a:rPr>
              <a:t>Schlussfolgerungen</a:t>
            </a:r>
            <a:r>
              <a:rPr lang="de-DE" sz="600" b="0" dirty="0">
                <a:solidFill>
                  <a:srgbClr val="0A4E78"/>
                </a:solidFill>
                <a:latin typeface="+mn-lt"/>
                <a:ea typeface="+mn-ea"/>
                <a:cs typeface="+mn-cs"/>
                <a:sym typeface="Novel Sans Pro" panose="02000000000000000000" pitchFamily="50" charset="0"/>
              </a:rPr>
              <a:t> haben.</a:t>
            </a:r>
          </a:p>
        </p:txBody>
      </p:sp>
      <p:sp>
        <p:nvSpPr>
          <p:cNvPr id="13" name="Title 6">
            <a:extLst>
              <a:ext uri="{FF2B5EF4-FFF2-40B4-BE49-F238E27FC236}">
                <a16:creationId xmlns:a16="http://schemas.microsoft.com/office/drawing/2014/main" id="{2B24C140-5947-4495-9DD8-F2147875AEA6}"/>
              </a:ext>
            </a:extLst>
          </p:cNvPr>
          <p:cNvSpPr txBox="1">
            <a:spLocks/>
          </p:cNvSpPr>
          <p:nvPr userDrawn="1"/>
        </p:nvSpPr>
        <p:spPr>
          <a:xfrm>
            <a:off x="639044" y="2522306"/>
            <a:ext cx="2564804" cy="56938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de-DE" sz="4000" i="1" dirty="0">
                <a:solidFill>
                  <a:srgbClr val="0A4E78"/>
                </a:solidFill>
                <a:latin typeface="+mn-lt"/>
                <a:ea typeface="+mn-ea"/>
                <a:cs typeface="+mn-cs"/>
                <a:sym typeface="Novel Sans Pro" panose="02000000000000000000" pitchFamily="50" charset="0"/>
              </a:rPr>
              <a:t>Disclaimer</a:t>
            </a:r>
          </a:p>
        </p:txBody>
      </p:sp>
      <p:cxnSp>
        <p:nvCxnSpPr>
          <p:cNvPr id="14" name="Straight Connector 13">
            <a:extLst>
              <a:ext uri="{FF2B5EF4-FFF2-40B4-BE49-F238E27FC236}">
                <a16:creationId xmlns:a16="http://schemas.microsoft.com/office/drawing/2014/main" id="{85EB69C5-B764-4755-9853-5AAA4329B3B4}"/>
              </a:ext>
            </a:extLst>
          </p:cNvPr>
          <p:cNvCxnSpPr/>
          <p:nvPr userDrawn="1"/>
        </p:nvCxnSpPr>
        <p:spPr>
          <a:xfrm>
            <a:off x="3563888" y="1554567"/>
            <a:ext cx="0" cy="2504864"/>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98F481F5-E625-4020-8B16-8E3A82986091}"/>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rgbClr val="F2F2F2"/>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47041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nd">
    <p:bg>
      <p:bgPr>
        <a:blipFill dpi="0" rotWithShape="0">
          <a:blip r:embed="rId4">
            <a:lum/>
          </a:blip>
          <a:srcRect/>
          <a:tile tx="0" ty="0" sx="100000" sy="100000" flip="none" algn="tl"/>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96FA975-70B8-45C9-9965-AA1DAC63FF26}"/>
              </a:ext>
            </a:extLst>
          </p:cNvPr>
          <p:cNvGraphicFramePr>
            <a:graphicFrameLocks noChangeAspect="1"/>
          </p:cNvGraphicFramePr>
          <p:nvPr userDrawn="1">
            <p:custDataLst>
              <p:tags r:id="rId2"/>
            </p:custDataLst>
            <p:extLst>
              <p:ext uri="{D42A27DB-BD31-4B8C-83A1-F6EECF244321}">
                <p14:modId xmlns:p14="http://schemas.microsoft.com/office/powerpoint/2010/main" val="16092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44" name="think-cell Slide" r:id="rId5" imgW="328" imgH="328" progId="TCLayout.ActiveDocument.1">
                  <p:embed/>
                </p:oleObj>
              </mc:Choice>
              <mc:Fallback>
                <p:oleObj name="think-cell Slide" r:id="rId5" imgW="328" imgH="328" progId="TCLayout.ActiveDocument.1">
                  <p:embed/>
                  <p:pic>
                    <p:nvPicPr>
                      <p:cNvPr id="3" name="Object 2" hidden="1">
                        <a:extLst>
                          <a:ext uri="{FF2B5EF4-FFF2-40B4-BE49-F238E27FC236}">
                            <a16:creationId xmlns:a16="http://schemas.microsoft.com/office/drawing/2014/main" id="{796FA975-70B8-45C9-9965-AA1DAC63FF2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AF5BFB92-7E61-4C3C-8CB2-30DAF4BB4B65}"/>
              </a:ext>
            </a:extLst>
          </p:cNvPr>
          <p:cNvSpPr/>
          <p:nvPr userDrawn="1"/>
        </p:nvSpPr>
        <p:spPr bwMode="auto">
          <a:xfrm>
            <a:off x="7956377" y="0"/>
            <a:ext cx="254632" cy="5143500"/>
          </a:xfrm>
          <a:prstGeom prst="rect">
            <a:avLst/>
          </a:prstGeom>
          <a:gradFill flip="none" rotWithShape="1">
            <a:gsLst>
              <a:gs pos="53000">
                <a:srgbClr val="DAE2EA"/>
              </a:gs>
              <a:gs pos="2000">
                <a:srgbClr val="92ABC1"/>
              </a:gs>
              <a:gs pos="84000">
                <a:schemeClr val="accent3"/>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6" name="Rectangle 5">
            <a:extLst>
              <a:ext uri="{FF2B5EF4-FFF2-40B4-BE49-F238E27FC236}">
                <a16:creationId xmlns:a16="http://schemas.microsoft.com/office/drawing/2014/main" id="{D173D5C1-72A9-4494-AF52-1C6390610AA6}"/>
              </a:ext>
            </a:extLst>
          </p:cNvPr>
          <p:cNvSpPr/>
          <p:nvPr userDrawn="1"/>
        </p:nvSpPr>
        <p:spPr>
          <a:xfrm>
            <a:off x="0" y="0"/>
            <a:ext cx="7968343"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lvl="0"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5" name="Rectangle 4">
            <a:extLst>
              <a:ext uri="{FF2B5EF4-FFF2-40B4-BE49-F238E27FC236}">
                <a16:creationId xmlns:a16="http://schemas.microsoft.com/office/drawing/2014/main" id="{54232AB3-A8C6-47D9-984F-04BDEEC241D4}"/>
              </a:ext>
            </a:extLst>
          </p:cNvPr>
          <p:cNvSpPr/>
          <p:nvPr userDrawn="1"/>
        </p:nvSpPr>
        <p:spPr>
          <a:xfrm>
            <a:off x="755576" y="1052847"/>
            <a:ext cx="6318068" cy="4093394"/>
          </a:xfrm>
          <a:prstGeom prst="rect">
            <a:avLst/>
          </a:prstGeom>
          <a:gradFill flip="none" rotWithShape="1">
            <a:gsLst>
              <a:gs pos="53000">
                <a:srgbClr val="DAE2EA"/>
              </a:gs>
              <a:gs pos="4000">
                <a:srgbClr val="7AA1BC"/>
              </a:gs>
              <a:gs pos="92000">
                <a:schemeClr val="bg1"/>
              </a:gs>
            </a:gsLst>
            <a:lin ang="16200000" scaled="1"/>
            <a:tileRect/>
          </a:gra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rtl="0">
              <a:buFont typeface="Novel Sans Pro" panose="02000000000000000000" pitchFamily="50" charset="0"/>
            </a:pPr>
            <a:endParaRPr lang="de-DE" sz="1200" dirty="0">
              <a:solidFill>
                <a:srgbClr val="000000"/>
              </a:solidFill>
              <a:latin typeface="+mn-lt"/>
              <a:ea typeface="+mn-ea"/>
              <a:cs typeface="+mn-cs"/>
              <a:sym typeface="Novel Sans Pro" panose="02000000000000000000" pitchFamily="50" charset="0"/>
            </a:endParaRPr>
          </a:p>
        </p:txBody>
      </p:sp>
      <p:pic>
        <p:nvPicPr>
          <p:cNvPr id="10" name="Picture 9" descr="Text&#10;&#10;Description automatically generated">
            <a:extLst>
              <a:ext uri="{FF2B5EF4-FFF2-40B4-BE49-F238E27FC236}">
                <a16:creationId xmlns:a16="http://schemas.microsoft.com/office/drawing/2014/main" id="{D97AD038-D52C-498B-AAD1-9BC59A82F3E6}"/>
              </a:ext>
            </a:extLst>
          </p:cNvPr>
          <p:cNvPicPr>
            <a:picLocks noChangeAspect="1"/>
          </p:cNvPicPr>
          <p:nvPr userDrawn="1"/>
        </p:nvPicPr>
        <p:blipFill>
          <a:blip r:embed="rId7">
            <a:clrChange>
              <a:clrFrom>
                <a:srgbClr val="FFFEFD"/>
              </a:clrFrom>
              <a:clrTo>
                <a:srgbClr val="FFFEFD">
                  <a:alpha val="0"/>
                </a:srgbClr>
              </a:clrTo>
            </a:clrChange>
          </a:blip>
          <a:stretch>
            <a:fillRect/>
          </a:stretch>
        </p:blipFill>
        <p:spPr>
          <a:xfrm>
            <a:off x="1303514" y="1803400"/>
            <a:ext cx="4651164" cy="1866557"/>
          </a:xfrm>
          <a:prstGeom prst="rect">
            <a:avLst/>
          </a:prstGeom>
        </p:spPr>
      </p:pic>
    </p:spTree>
    <p:extLst>
      <p:ext uri="{BB962C8B-B14F-4D97-AF65-F5344CB8AC3E}">
        <p14:creationId xmlns:p14="http://schemas.microsoft.com/office/powerpoint/2010/main" val="367893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ayout guide">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AFC41EC-4A62-48E2-8FB5-60F7E1219465}"/>
              </a:ext>
            </a:extLst>
          </p:cNvPr>
          <p:cNvGraphicFramePr>
            <a:graphicFrameLocks noChangeAspect="1"/>
          </p:cNvGraphicFramePr>
          <p:nvPr userDrawn="1">
            <p:custDataLst>
              <p:tags r:id="rId2"/>
            </p:custDataLst>
            <p:extLst>
              <p:ext uri="{D42A27DB-BD31-4B8C-83A1-F6EECF244321}">
                <p14:modId xmlns:p14="http://schemas.microsoft.com/office/powerpoint/2010/main" val="16744628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8"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Copyright" hidden="1">
            <a:extLst>
              <a:ext uri="{FF2B5EF4-FFF2-40B4-BE49-F238E27FC236}">
                <a16:creationId xmlns:a16="http://schemas.microsoft.com/office/drawing/2014/main" id="{6D380E91-188D-4AD4-9AE6-A5CDF3B255A0}"/>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grpSp>
        <p:nvGrpSpPr>
          <p:cNvPr id="9" name="Group 8">
            <a:extLst>
              <a:ext uri="{FF2B5EF4-FFF2-40B4-BE49-F238E27FC236}">
                <a16:creationId xmlns:a16="http://schemas.microsoft.com/office/drawing/2014/main" id="{24E90A2A-2AAC-4777-A542-E3B3CA46FAD0}"/>
              </a:ext>
            </a:extLst>
          </p:cNvPr>
          <p:cNvGrpSpPr/>
          <p:nvPr userDrawn="1"/>
        </p:nvGrpSpPr>
        <p:grpSpPr>
          <a:xfrm>
            <a:off x="-450" y="-2432"/>
            <a:ext cx="9144900" cy="5145932"/>
            <a:chOff x="-450" y="-2432"/>
            <a:chExt cx="9144900" cy="5145932"/>
          </a:xfrm>
        </p:grpSpPr>
        <p:grpSp>
          <p:nvGrpSpPr>
            <p:cNvPr id="3" name="Group 2">
              <a:extLst>
                <a:ext uri="{FF2B5EF4-FFF2-40B4-BE49-F238E27FC236}">
                  <a16:creationId xmlns:a16="http://schemas.microsoft.com/office/drawing/2014/main" id="{2F41BF0F-2652-400C-B23A-935C02AACA7D}"/>
                </a:ext>
              </a:extLst>
            </p:cNvPr>
            <p:cNvGrpSpPr/>
            <p:nvPr userDrawn="1"/>
          </p:nvGrpSpPr>
          <p:grpSpPr>
            <a:xfrm>
              <a:off x="-450" y="289560"/>
              <a:ext cx="9144900" cy="4298414"/>
              <a:chOff x="-450" y="467100"/>
              <a:chExt cx="9144900" cy="3934049"/>
            </a:xfrm>
          </p:grpSpPr>
          <p:cxnSp>
            <p:nvCxnSpPr>
              <p:cNvPr id="77" name="Straight Connector 76"/>
              <p:cNvCxnSpPr/>
              <p:nvPr/>
            </p:nvCxnSpPr>
            <p:spPr>
              <a:xfrm>
                <a:off x="-450" y="46710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450" y="685658"/>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450" y="90421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450" y="112320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450" y="134133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450" y="155989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450" y="177845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450" y="1997008"/>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450" y="221556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450" y="2434124"/>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450" y="265268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450" y="287124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450" y="308979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450" y="330835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450" y="352691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450" y="3745474"/>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450" y="3964032"/>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450" y="418259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450" y="440114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957750" y="267494"/>
              <a:ext cx="7228500" cy="4320381"/>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sp>
          <p:nvSpPr>
            <p:cNvPr id="53" name="Slide edges"/>
            <p:cNvSpPr>
              <a:spLocks/>
            </p:cNvSpPr>
            <p:nvPr userDrawn="1"/>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de-DE" sz="1350" b="0" i="0" u="none" strike="noStrike" kern="1200" cap="none" spc="0" normalizeH="0" baseline="0" noProof="0" dirty="0">
                <a:ln>
                  <a:noFill/>
                </a:ln>
                <a:solidFill>
                  <a:srgbClr val="575757"/>
                </a:solidFill>
                <a:effectLst/>
                <a:uLnTx/>
                <a:uFillTx/>
                <a:latin typeface="+mn-lt"/>
                <a:ea typeface="+mn-ea"/>
                <a:cs typeface="+mn-cs"/>
                <a:sym typeface="Novel Sans Pro" panose="02000000000000000000" pitchFamily="50" charset="0"/>
              </a:endParaRPr>
            </a:p>
          </p:txBody>
        </p:sp>
        <p:sp>
          <p:nvSpPr>
            <p:cNvPr id="54" name="Footnote measure"/>
            <p:cNvSpPr>
              <a:spLocks noChangeArrowheads="1"/>
            </p:cNvSpPr>
            <p:nvPr userDrawn="1"/>
          </p:nvSpPr>
          <p:spPr bwMode="auto">
            <a:xfrm>
              <a:off x="472050" y="4586794"/>
              <a:ext cx="8199900" cy="332399"/>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57" name="Whitespace measure"/>
            <p:cNvSpPr>
              <a:spLocks noChangeArrowheads="1"/>
            </p:cNvSpPr>
            <p:nvPr userDrawn="1"/>
          </p:nvSpPr>
          <p:spPr bwMode="auto">
            <a:xfrm>
              <a:off x="472050" y="1123200"/>
              <a:ext cx="8199172" cy="4374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nvGrpSpPr>
            <p:cNvPr id="58" name="Five column measure"/>
            <p:cNvGrpSpPr/>
            <p:nvPr userDrawn="1"/>
          </p:nvGrpSpPr>
          <p:grpSpPr>
            <a:xfrm>
              <a:off x="472050" y="4481341"/>
              <a:ext cx="8199900" cy="59652"/>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de-DE" sz="1013" dirty="0">
                  <a:latin typeface="+mn-lt"/>
                  <a:ea typeface="+mn-ea"/>
                  <a:cs typeface="+mn-cs"/>
                  <a:sym typeface="Novel Sans Pro" panose="02000000000000000000" pitchFamily="50" charset="0"/>
                </a:endParaRPr>
              </a:p>
            </p:txBody>
          </p:sp>
        </p:grpSp>
        <p:sp>
          <p:nvSpPr>
            <p:cNvPr id="59" name="Live area"/>
            <p:cNvSpPr/>
            <p:nvPr userDrawn="1"/>
          </p:nvSpPr>
          <p:spPr>
            <a:xfrm>
              <a:off x="472050" y="1560601"/>
              <a:ext cx="8381448" cy="3031507"/>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de-DE" sz="900" dirty="0">
                <a:solidFill>
                  <a:schemeClr val="bg1"/>
                </a:solidFill>
                <a:latin typeface="+mn-lt"/>
                <a:ea typeface="+mn-ea"/>
                <a:cs typeface="+mn-cs"/>
                <a:sym typeface="Novel Sans Pro" panose="02000000000000000000" pitchFamily="50" charset="0"/>
              </a:endParaRPr>
            </a:p>
          </p:txBody>
        </p:sp>
        <p:sp>
          <p:nvSpPr>
            <p:cNvPr id="60" name="Footnote example"/>
            <p:cNvSpPr txBox="1"/>
            <p:nvPr userDrawn="1"/>
          </p:nvSpPr>
          <p:spPr>
            <a:xfrm>
              <a:off x="472500" y="4507980"/>
              <a:ext cx="7627892" cy="3323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1.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  2.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  3. xxx</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Anmerkung: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endPar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endParaRPr>
            </a:p>
            <a:p>
              <a:pPr marL="0" marR="0" lvl="0" indent="0" algn="l" defTabSz="685800" rtl="0" eaLnBrk="1" fontAlgn="auto" latinLnBrk="0" hangingPunct="1">
                <a:lnSpc>
                  <a:spcPct val="90000"/>
                </a:lnSpc>
                <a:spcBef>
                  <a:spcPts val="0"/>
                </a:spcBef>
                <a:spcAft>
                  <a:spcPts val="0"/>
                </a:spcAft>
                <a:buClrTx/>
                <a:buSzTx/>
                <a:buFontTx/>
                <a:buNone/>
                <a:tabLst/>
                <a:defRPr/>
              </a:pPr>
              <a:r>
                <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rPr>
                <a:t>Quelle: </a:t>
              </a:r>
              <a:r>
                <a:rPr kumimoji="0" lang="de-DE" sz="800" b="0" i="0" u="none" strike="noStrike" kern="1200" cap="none" spc="0" normalizeH="0" baseline="0" noProof="0" dirty="0" err="1">
                  <a:ln>
                    <a:noFill/>
                  </a:ln>
                  <a:solidFill>
                    <a:srgbClr val="0A4E78"/>
                  </a:solidFill>
                  <a:effectLst/>
                  <a:uLnTx/>
                  <a:uFillTx/>
                  <a:latin typeface="+mn-lt"/>
                  <a:ea typeface="+mn-ea"/>
                  <a:cs typeface="+mn-cs"/>
                  <a:sym typeface="Novel Sans Pro" panose="02000000000000000000" pitchFamily="50" charset="0"/>
                </a:rPr>
                <a:t>xxxx</a:t>
              </a:r>
              <a:endParaRPr kumimoji="0" lang="de-DE" sz="800" b="0" i="0" u="none" strike="noStrike" kern="1200" cap="none" spc="0" normalizeH="0" baseline="0" noProof="0" dirty="0">
                <a:ln>
                  <a:noFill/>
                </a:ln>
                <a:solidFill>
                  <a:srgbClr val="0A4E78"/>
                </a:solidFill>
                <a:effectLst/>
                <a:uLnTx/>
                <a:uFillTx/>
                <a:latin typeface="+mn-lt"/>
                <a:ea typeface="+mn-ea"/>
                <a:cs typeface="+mn-cs"/>
                <a:sym typeface="Novel Sans Pro" panose="02000000000000000000" pitchFamily="50" charset="0"/>
              </a:endParaRPr>
            </a:p>
          </p:txBody>
        </p:sp>
        <p:pic>
          <p:nvPicPr>
            <p:cNvPr id="51" name="Picture 50" descr="A picture containing graphical user interface&#10;&#10;Description automatically generated">
              <a:extLst>
                <a:ext uri="{FF2B5EF4-FFF2-40B4-BE49-F238E27FC236}">
                  <a16:creationId xmlns:a16="http://schemas.microsoft.com/office/drawing/2014/main" id="{92DA71EA-B602-4DA6-B561-5A81E91A1C8D}"/>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5" name="Rectangle 94">
              <a:extLst>
                <a:ext uri="{FF2B5EF4-FFF2-40B4-BE49-F238E27FC236}">
                  <a16:creationId xmlns:a16="http://schemas.microsoft.com/office/drawing/2014/main" id="{9ECE42BA-AEE8-4D1B-8B42-A3A45B0FB6DF}"/>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
          <p:nvSpPr>
            <p:cNvPr id="6" name="Rectangle 5">
              <a:extLst>
                <a:ext uri="{FF2B5EF4-FFF2-40B4-BE49-F238E27FC236}">
                  <a16:creationId xmlns:a16="http://schemas.microsoft.com/office/drawing/2014/main" id="{FCC98514-DA31-4C36-AA21-8E700642F218}"/>
                </a:ext>
              </a:extLst>
            </p:cNvPr>
            <p:cNvSpPr/>
            <p:nvPr userDrawn="1"/>
          </p:nvSpPr>
          <p:spPr bwMode="auto">
            <a:xfrm>
              <a:off x="0" y="0"/>
              <a:ext cx="467544" cy="5143500"/>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98" name="Rectangle 97">
              <a:extLst>
                <a:ext uri="{FF2B5EF4-FFF2-40B4-BE49-F238E27FC236}">
                  <a16:creationId xmlns:a16="http://schemas.microsoft.com/office/drawing/2014/main" id="{F5B62051-5A86-405F-B60D-675FBACBE25D}"/>
                </a:ext>
              </a:extLst>
            </p:cNvPr>
            <p:cNvSpPr/>
            <p:nvPr userDrawn="1"/>
          </p:nvSpPr>
          <p:spPr bwMode="auto">
            <a:xfrm>
              <a:off x="8852724" y="0"/>
              <a:ext cx="291276" cy="5143500"/>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99" name="Rectangle 98">
              <a:extLst>
                <a:ext uri="{FF2B5EF4-FFF2-40B4-BE49-F238E27FC236}">
                  <a16:creationId xmlns:a16="http://schemas.microsoft.com/office/drawing/2014/main" id="{9E3C542E-9560-4D03-84AB-7DD978EA9820}"/>
                </a:ext>
              </a:extLst>
            </p:cNvPr>
            <p:cNvSpPr/>
            <p:nvPr userDrawn="1"/>
          </p:nvSpPr>
          <p:spPr bwMode="auto">
            <a:xfrm>
              <a:off x="467544" y="0"/>
              <a:ext cx="8381448" cy="294198"/>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00" name="Rectangle 99">
              <a:extLst>
                <a:ext uri="{FF2B5EF4-FFF2-40B4-BE49-F238E27FC236}">
                  <a16:creationId xmlns:a16="http://schemas.microsoft.com/office/drawing/2014/main" id="{B10C38AB-C08B-441E-B886-1A670076C194}"/>
                </a:ext>
              </a:extLst>
            </p:cNvPr>
            <p:cNvSpPr/>
            <p:nvPr userDrawn="1"/>
          </p:nvSpPr>
          <p:spPr bwMode="auto">
            <a:xfrm>
              <a:off x="467544" y="1085004"/>
              <a:ext cx="8381448" cy="478634"/>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sp>
          <p:nvSpPr>
            <p:cNvPr id="101" name="Rectangle 100">
              <a:extLst>
                <a:ext uri="{FF2B5EF4-FFF2-40B4-BE49-F238E27FC236}">
                  <a16:creationId xmlns:a16="http://schemas.microsoft.com/office/drawing/2014/main" id="{722E13EB-C433-4CBC-9F76-4E8E4E138BD5}"/>
                </a:ext>
              </a:extLst>
            </p:cNvPr>
            <p:cNvSpPr/>
            <p:nvPr userDrawn="1"/>
          </p:nvSpPr>
          <p:spPr bwMode="auto">
            <a:xfrm>
              <a:off x="467544" y="4803998"/>
              <a:ext cx="8381448" cy="339502"/>
            </a:xfrm>
            <a:prstGeom prst="rect">
              <a:avLst/>
            </a:prstGeom>
            <a:solidFill>
              <a:srgbClr val="FF0000">
                <a:alpha val="5098"/>
              </a:srgbClr>
            </a:solidFill>
            <a:ln>
              <a:noFill/>
            </a:ln>
            <a:effectLst/>
          </p:spPr>
          <p:txBody>
            <a:bodyPr vert="horz" wrap="square" lIns="91440" tIns="45720" rIns="91440" bIns="45720" numCol="1" rtlCol="0" anchor="ctr" anchorCtr="0" compatLnSpc="1">
              <a:prstTxWarp prst="textNoShape">
                <a:avLst/>
              </a:prstTxWarp>
              <a:noAutofit/>
            </a:bodyPr>
            <a:lstStyle/>
            <a:p>
              <a:pPr algn="ctr" rtl="0">
                <a:buFont typeface="Arial" panose="020B0604020202020204" pitchFamily="34" charset="0"/>
              </a:pPr>
              <a:endParaRPr lang="de-DE" sz="1200" dirty="0">
                <a:solidFill>
                  <a:schemeClr val="bg1"/>
                </a:solidFill>
                <a:latin typeface="+mn-lt"/>
                <a:ea typeface="+mn-ea"/>
                <a:cs typeface="+mn-cs"/>
                <a:sym typeface="Novel Sans Pro" panose="02000000000000000000" pitchFamily="50" charset="0"/>
              </a:endParaRPr>
            </a:p>
          </p:txBody>
        </p:sp>
      </p:grpSp>
    </p:spTree>
    <p:extLst>
      <p:ext uri="{BB962C8B-B14F-4D97-AF65-F5344CB8AC3E}">
        <p14:creationId xmlns:p14="http://schemas.microsoft.com/office/powerpoint/2010/main" val="4758939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 Section header box">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96FCFC0-55AE-405B-AC91-67D4E31FBE7B}"/>
              </a:ext>
            </a:extLst>
          </p:cNvPr>
          <p:cNvGraphicFramePr>
            <a:graphicFrameLocks noChangeAspect="1"/>
          </p:cNvGraphicFramePr>
          <p:nvPr userDrawn="1">
            <p:custDataLst>
              <p:tags r:id="rId2"/>
            </p:custDataLst>
            <p:extLst>
              <p:ext uri="{D42A27DB-BD31-4B8C-83A1-F6EECF244321}">
                <p14:modId xmlns:p14="http://schemas.microsoft.com/office/powerpoint/2010/main" val="38856546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6"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A96FCFC0-55AE-405B-AC91-67D4E31FBE7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00" kern="1200" baseline="0" dirty="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section</a:t>
            </a:r>
            <a:r>
              <a:rPr lang="de-DE" dirty="0"/>
              <a:t> title</a:t>
            </a:r>
          </a:p>
        </p:txBody>
      </p:sp>
      <p:sp>
        <p:nvSpPr>
          <p:cNvPr id="11" name="Rectangle 10"/>
          <p:cNvSpPr/>
          <p:nvPr userDrawn="1"/>
        </p:nvSpPr>
        <p:spPr bwMode="white">
          <a:xfrm>
            <a:off x="960520" y="1068061"/>
            <a:ext cx="713791" cy="713791"/>
          </a:xfrm>
          <a:prstGeom prst="rect">
            <a:avLst/>
          </a:prstGeom>
          <a:noFill/>
          <a:ln w="9525">
            <a:solidFill>
              <a:srgbClr val="0A4E7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pic>
        <p:nvPicPr>
          <p:cNvPr id="7" name="Picture 6" descr="A picture containing graphical user interface&#10;&#10;Description automatically generated">
            <a:extLst>
              <a:ext uri="{FF2B5EF4-FFF2-40B4-BE49-F238E27FC236}">
                <a16:creationId xmlns:a16="http://schemas.microsoft.com/office/drawing/2014/main" id="{1BBA4AFE-9EEC-49C4-B4D7-95D208E353DB}"/>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0" name="Copyright" hidden="1">
            <a:extLst>
              <a:ext uri="{FF2B5EF4-FFF2-40B4-BE49-F238E27FC236}">
                <a16:creationId xmlns:a16="http://schemas.microsoft.com/office/drawing/2014/main" id="{1FA9EF53-EC7F-4010-8E3C-90B1CEC17B4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13" name="Rectangle 12">
            <a:extLst>
              <a:ext uri="{FF2B5EF4-FFF2-40B4-BE49-F238E27FC236}">
                <a16:creationId xmlns:a16="http://schemas.microsoft.com/office/drawing/2014/main" id="{C358409F-798F-4A9E-966E-133F453B9C34}"/>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13353876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53000">
              <a:srgbClr val="A8BCCF"/>
            </a:gs>
            <a:gs pos="4000">
              <a:srgbClr val="4C7895"/>
            </a:gs>
            <a:gs pos="92000">
              <a:schemeClr val="bg1"/>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41186402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2492"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11" name="Rectangle 10"/>
          <p:cNvSpPr/>
          <p:nvPr userDrawn="1"/>
        </p:nvSpPr>
        <p:spPr bwMode="invGray">
          <a:xfrm>
            <a:off x="1041108" y="3518390"/>
            <a:ext cx="756000" cy="7560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e-DE" sz="1500" dirty="0">
              <a:solidFill>
                <a:prstClr val="white"/>
              </a:solidFill>
              <a:latin typeface="+mn-lt"/>
              <a:ea typeface="+mn-ea"/>
              <a:cs typeface="+mn-cs"/>
              <a:sym typeface="Novel Sans Pro" panose="02000000000000000000" pitchFamily="50" charset="0"/>
            </a:endParaRPr>
          </a:p>
        </p:txBody>
      </p:sp>
      <p:sp>
        <p:nvSpPr>
          <p:cNvPr id="12" name="Rectangle 11"/>
          <p:cNvSpPr/>
          <p:nvPr userDrawn="1">
            <p:custDataLst>
              <p:tags r:id="rId3"/>
            </p:custDataLst>
          </p:nvPr>
        </p:nvSpPr>
        <p:spPr>
          <a:xfrm>
            <a:off x="1957500" y="3518390"/>
            <a:ext cx="1101600"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rtl="0">
              <a:lnSpc>
                <a:spcPct val="95000"/>
              </a:lnSpc>
            </a:pPr>
            <a:endParaRPr lang="de-DE" sz="900" dirty="0">
              <a:solidFill>
                <a:srgbClr val="FFFFFF"/>
              </a:solidFill>
              <a:latin typeface="+mn-lt"/>
              <a:ea typeface="+mn-ea"/>
              <a:cs typeface="+mn-cs"/>
              <a:sym typeface="Novel Sans Pro" panose="02000000000000000000" pitchFamily="50" charset="0"/>
            </a:endParaRPr>
          </a:p>
        </p:txBody>
      </p:sp>
      <p:sp>
        <p:nvSpPr>
          <p:cNvPr id="2" name="TextBox 1"/>
          <p:cNvSpPr txBox="1"/>
          <p:nvPr userDrawn="1"/>
        </p:nvSpPr>
        <p:spPr>
          <a:xfrm>
            <a:off x="472500" y="680399"/>
            <a:ext cx="2586600" cy="2588400"/>
          </a:xfrm>
          <a:prstGeom prst="rect">
            <a:avLst/>
          </a:prstGeom>
          <a:noFill/>
          <a:ln>
            <a:solidFill>
              <a:schemeClr val="bg1"/>
            </a:solidFill>
            <a:miter lim="800000"/>
          </a:ln>
        </p:spPr>
        <p:txBody>
          <a:bodyPr wrap="square" lIns="459000" tIns="351000" rIns="0" bIns="0" rtlCol="0" anchor="t">
            <a:noAutofit/>
          </a:bodyPr>
          <a:lstStyle/>
          <a:p>
            <a:pPr rtl="0">
              <a:lnSpc>
                <a:spcPct val="90000"/>
              </a:lnSpc>
              <a:spcAft>
                <a:spcPts val="450"/>
              </a:spcAft>
            </a:pPr>
            <a:endParaRPr lang="de-DE" sz="4000" dirty="0">
              <a:solidFill>
                <a:schemeClr val="bg1"/>
              </a:solidFill>
              <a:latin typeface="+mn-lt"/>
              <a:ea typeface="+mn-ea"/>
              <a:cs typeface="+mn-cs"/>
              <a:sym typeface="Novel Sans Pro" panose="02000000000000000000" pitchFamily="50" charset="0"/>
            </a:endParaRPr>
          </a:p>
        </p:txBody>
      </p:sp>
      <p:sp>
        <p:nvSpPr>
          <p:cNvPr id="10" name="TextBox 1"/>
          <p:cNvSpPr txBox="1"/>
          <p:nvPr userDrawn="1"/>
        </p:nvSpPr>
        <p:spPr>
          <a:xfrm>
            <a:off x="784012" y="836562"/>
            <a:ext cx="1963038" cy="684803"/>
          </a:xfrm>
          <a:prstGeom prst="rect">
            <a:avLst/>
          </a:prstGeom>
          <a:noFill/>
        </p:spPr>
        <p:txBody>
          <a:bodyPr wrap="none" rtlCol="0">
            <a:spAutoFit/>
          </a:bodyPr>
          <a:lstStyle/>
          <a:p>
            <a:pPr algn="ctr" rtl="0" fontAlgn="auto">
              <a:lnSpc>
                <a:spcPct val="95000"/>
              </a:lnSpc>
              <a:spcBef>
                <a:spcPts val="0"/>
              </a:spcBef>
              <a:spcAft>
                <a:spcPts val="0"/>
              </a:spcAft>
            </a:pPr>
            <a:r>
              <a:rPr lang="de-DE" sz="4000" i="1" dirty="0">
                <a:solidFill>
                  <a:schemeClr val="bg1"/>
                </a:solidFill>
                <a:latin typeface="+mn-lt"/>
                <a:ea typeface="+mn-ea"/>
                <a:cs typeface="+mn-cs"/>
                <a:sym typeface="Novel Sans Pro" panose="02000000000000000000" pitchFamily="50" charset="0"/>
              </a:rPr>
              <a:t>Agenda</a:t>
            </a:r>
          </a:p>
        </p:txBody>
      </p:sp>
      <p:pic>
        <p:nvPicPr>
          <p:cNvPr id="13" name="Picture 12" descr="A picture containing graphical user interface&#10;&#10;Description automatically generated">
            <a:extLst>
              <a:ext uri="{FF2B5EF4-FFF2-40B4-BE49-F238E27FC236}">
                <a16:creationId xmlns:a16="http://schemas.microsoft.com/office/drawing/2014/main" id="{156BD86E-1BAE-4C12-861B-6FA6E472D703}"/>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4" name="Slide Number Placeholder 28">
            <a:extLst>
              <a:ext uri="{FF2B5EF4-FFF2-40B4-BE49-F238E27FC236}">
                <a16:creationId xmlns:a16="http://schemas.microsoft.com/office/drawing/2014/main" id="{EB72BF9E-F01A-460D-BEFB-6B5E2C5F9E53}"/>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5" name="Copyright" hidden="1">
            <a:extLst>
              <a:ext uri="{FF2B5EF4-FFF2-40B4-BE49-F238E27FC236}">
                <a16:creationId xmlns:a16="http://schemas.microsoft.com/office/drawing/2014/main" id="{2A0144A1-ED8B-4823-B83C-6A8D225FBDD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455015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94861694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351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Rectangle 9"/>
          <p:cNvSpPr/>
          <p:nvPr userDrawn="1"/>
        </p:nvSpPr>
        <p:spPr bwMode="white">
          <a:xfrm>
            <a:off x="951526" y="107510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e-DE" sz="1500" dirty="0">
              <a:solidFill>
                <a:prstClr val="white"/>
              </a:solidFill>
              <a:latin typeface="+mn-lt"/>
              <a:ea typeface="+mn-ea"/>
              <a:cs typeface="+mn-cs"/>
              <a:sym typeface="Novel Sans Pro" panose="02000000000000000000" pitchFamily="50" charset="0"/>
            </a:endParaRPr>
          </a:p>
        </p:txBody>
      </p:sp>
      <p:pic>
        <p:nvPicPr>
          <p:cNvPr id="8" name="Picture 7" descr="A picture containing graphical user interface&#10;&#10;Description automatically generated">
            <a:extLst>
              <a:ext uri="{FF2B5EF4-FFF2-40B4-BE49-F238E27FC236}">
                <a16:creationId xmlns:a16="http://schemas.microsoft.com/office/drawing/2014/main" id="{F0CDDD64-D36D-4A5F-BDA8-19A3F75723B2}"/>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60D46829-E1F5-474C-9680-77DA928EC32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5382D87F-81DB-4F3B-858E-9F5A141FD112}"/>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0999110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0050450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454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Title 1"/>
          <p:cNvSpPr txBox="1">
            <a:spLocks/>
          </p:cNvSpPr>
          <p:nvPr userDrawn="1"/>
        </p:nvSpPr>
        <p:spPr>
          <a:xfrm>
            <a:off x="472500" y="467100"/>
            <a:ext cx="5392499" cy="45550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de-DE" sz="3200" i="1" dirty="0">
                <a:solidFill>
                  <a:srgbClr val="0A4E78"/>
                </a:solidFill>
                <a:latin typeface="+mn-lt"/>
                <a:ea typeface="+mn-ea"/>
                <a:cs typeface="+mn-cs"/>
                <a:sym typeface="Novel Sans Pro" panose="02000000000000000000" pitchFamily="50" charset="0"/>
              </a:rPr>
              <a:t>Agenda</a:t>
            </a:r>
          </a:p>
        </p:txBody>
      </p:sp>
      <p:cxnSp>
        <p:nvCxnSpPr>
          <p:cNvPr id="13" name="Straight Connector 12"/>
          <p:cNvCxnSpPr/>
          <p:nvPr userDrawn="1"/>
        </p:nvCxnSpPr>
        <p:spPr bwMode="white">
          <a:xfrm>
            <a:off x="464174" y="904500"/>
            <a:ext cx="8682228" cy="0"/>
          </a:xfrm>
          <a:prstGeom prst="line">
            <a:avLst/>
          </a:prstGeom>
          <a:ln w="9525" cmpd="sng">
            <a:solidFill>
              <a:srgbClr val="0A4E78"/>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8" name="Picture 7" descr="A picture containing graphical user interface&#10;&#10;Description automatically generated">
            <a:extLst>
              <a:ext uri="{FF2B5EF4-FFF2-40B4-BE49-F238E27FC236}">
                <a16:creationId xmlns:a16="http://schemas.microsoft.com/office/drawing/2014/main" id="{9D095A54-F653-40C3-A96B-68D696446EEB}"/>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11AC2A6D-0B59-4CDE-8E08-97411B744800}"/>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22161362-98EC-45CC-8048-4BAC75D64BCD}"/>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704130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79910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556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17" name="TextBox 16"/>
          <p:cNvSpPr txBox="1"/>
          <p:nvPr userDrawn="1"/>
        </p:nvSpPr>
        <p:spPr>
          <a:xfrm>
            <a:off x="472501" y="2405787"/>
            <a:ext cx="1939259" cy="455509"/>
          </a:xfrm>
          <a:prstGeom prst="rect">
            <a:avLst/>
          </a:prstGeom>
          <a:noFill/>
        </p:spPr>
        <p:txBody>
          <a:bodyPr wrap="square" lIns="0" tIns="0" rIns="0" bIns="0" rtlCol="0" anchor="t">
            <a:spAutoFit/>
          </a:bodyPr>
          <a:lstStyle/>
          <a:p>
            <a:pPr rtl="0">
              <a:lnSpc>
                <a:spcPct val="90000"/>
              </a:lnSpc>
              <a:spcAft>
                <a:spcPts val="450"/>
              </a:spcAft>
            </a:pPr>
            <a:r>
              <a:rPr lang="de-DE" sz="3200" i="1" dirty="0">
                <a:solidFill>
                  <a:schemeClr val="bg1"/>
                </a:solidFill>
                <a:latin typeface="+mn-lt"/>
                <a:ea typeface="+mn-ea"/>
                <a:cs typeface="+mn-cs"/>
                <a:sym typeface="Novel Sans Pro" panose="02000000000000000000" pitchFamily="50" charset="0"/>
              </a:rPr>
              <a:t>Agenda</a:t>
            </a:r>
          </a:p>
        </p:txBody>
      </p:sp>
      <p:pic>
        <p:nvPicPr>
          <p:cNvPr id="8" name="Picture 7" descr="A picture containing graphical user interface&#10;&#10;Description automatically generated">
            <a:extLst>
              <a:ext uri="{FF2B5EF4-FFF2-40B4-BE49-F238E27FC236}">
                <a16:creationId xmlns:a16="http://schemas.microsoft.com/office/drawing/2014/main" id="{245FD048-0A33-4064-98D4-B4BB444E60C3}"/>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Slide Number Placeholder 28">
            <a:extLst>
              <a:ext uri="{FF2B5EF4-FFF2-40B4-BE49-F238E27FC236}">
                <a16:creationId xmlns:a16="http://schemas.microsoft.com/office/drawing/2014/main" id="{F7FBB253-D019-4B34-8D03-2816DBD093BE}"/>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1" name="Copyright" hidden="1">
            <a:extLst>
              <a:ext uri="{FF2B5EF4-FFF2-40B4-BE49-F238E27FC236}">
                <a16:creationId xmlns:a16="http://schemas.microsoft.com/office/drawing/2014/main" id="{FACCDC4B-8E0D-46E1-AE6B-6007326C5391}"/>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809680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9338203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658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9" name="TextBox 1"/>
          <p:cNvSpPr txBox="1"/>
          <p:nvPr userDrawn="1"/>
        </p:nvSpPr>
        <p:spPr>
          <a:xfrm>
            <a:off x="784012" y="836562"/>
            <a:ext cx="1963038" cy="684803"/>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de-DE" sz="4000" i="1" dirty="0">
                <a:solidFill>
                  <a:srgbClr val="0A4E78"/>
                </a:solidFill>
                <a:latin typeface="+mn-lt"/>
                <a:ea typeface="+mn-ea"/>
                <a:cs typeface="+mn-cs"/>
                <a:sym typeface="Novel Sans Pro" panose="02000000000000000000" pitchFamily="50" charset="0"/>
              </a:rPr>
              <a:t>Agenda</a:t>
            </a:r>
          </a:p>
        </p:txBody>
      </p:sp>
      <p:sp>
        <p:nvSpPr>
          <p:cNvPr id="12" name="Rectangle 11">
            <a:extLst>
              <a:ext uri="{FF2B5EF4-FFF2-40B4-BE49-F238E27FC236}">
                <a16:creationId xmlns:a16="http://schemas.microsoft.com/office/drawing/2014/main" id="{A7B2ED90-86A5-4CFB-81BE-20293BB32CDB}"/>
              </a:ext>
            </a:extLst>
          </p:cNvPr>
          <p:cNvSpPr/>
          <p:nvPr userDrawn="1"/>
        </p:nvSpPr>
        <p:spPr bwMode="invGray">
          <a:xfrm>
            <a:off x="1041108" y="3518390"/>
            <a:ext cx="756000" cy="756000"/>
          </a:xfrm>
          <a:prstGeom prst="rect">
            <a:avLst/>
          </a:prstGeom>
          <a:noFill/>
          <a:ln w="9525" cap="flat" cmpd="sng" algn="ctr">
            <a:solidFill>
              <a:srgbClr val="0A4E78"/>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de-DE" sz="1500" dirty="0">
              <a:solidFill>
                <a:prstClr val="white"/>
              </a:solidFill>
              <a:latin typeface="+mn-lt"/>
              <a:ea typeface="+mn-ea"/>
              <a:cs typeface="+mn-cs"/>
              <a:sym typeface="Novel Sans Pro" panose="02000000000000000000" pitchFamily="50" charset="0"/>
            </a:endParaRPr>
          </a:p>
        </p:txBody>
      </p:sp>
      <p:sp>
        <p:nvSpPr>
          <p:cNvPr id="13" name="Rectangle 12">
            <a:extLst>
              <a:ext uri="{FF2B5EF4-FFF2-40B4-BE49-F238E27FC236}">
                <a16:creationId xmlns:a16="http://schemas.microsoft.com/office/drawing/2014/main" id="{FE744E4B-C1E3-4E4A-8AE1-D6C466FE272D}"/>
              </a:ext>
            </a:extLst>
          </p:cNvPr>
          <p:cNvSpPr/>
          <p:nvPr userDrawn="1">
            <p:custDataLst>
              <p:tags r:id="rId3"/>
            </p:custDataLst>
          </p:nvPr>
        </p:nvSpPr>
        <p:spPr>
          <a:xfrm>
            <a:off x="1957500" y="3518390"/>
            <a:ext cx="1101600" cy="1101132"/>
          </a:xfrm>
          <a:prstGeom prst="rect">
            <a:avLst/>
          </a:prstGeom>
          <a:noFill/>
          <a:ln w="9525" cap="flat" cmpd="sng" algn="ctr">
            <a:solidFill>
              <a:srgbClr val="0A4E78"/>
            </a:solidFill>
            <a:prstDash val="solid"/>
            <a:miter lim="800000"/>
            <a:headEnd type="none" w="med" len="med"/>
            <a:tailEnd type="none" w="med" len="med"/>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rtl="0">
              <a:lnSpc>
                <a:spcPct val="95000"/>
              </a:lnSpc>
            </a:pPr>
            <a:endParaRPr lang="de-DE" sz="900" dirty="0">
              <a:solidFill>
                <a:srgbClr val="FFFFFF"/>
              </a:solidFill>
              <a:latin typeface="+mn-lt"/>
              <a:ea typeface="+mn-ea"/>
              <a:cs typeface="+mn-cs"/>
              <a:sym typeface="Novel Sans Pro" panose="02000000000000000000" pitchFamily="50" charset="0"/>
            </a:endParaRPr>
          </a:p>
        </p:txBody>
      </p:sp>
      <p:sp>
        <p:nvSpPr>
          <p:cNvPr id="8" name="TextBox 7">
            <a:extLst>
              <a:ext uri="{FF2B5EF4-FFF2-40B4-BE49-F238E27FC236}">
                <a16:creationId xmlns:a16="http://schemas.microsoft.com/office/drawing/2014/main" id="{70128BB4-EABE-485F-8468-9598EA2E87B7}"/>
              </a:ext>
            </a:extLst>
          </p:cNvPr>
          <p:cNvSpPr txBox="1"/>
          <p:nvPr userDrawn="1"/>
        </p:nvSpPr>
        <p:spPr>
          <a:xfrm>
            <a:off x="472500" y="680399"/>
            <a:ext cx="2586600" cy="2588400"/>
          </a:xfrm>
          <a:prstGeom prst="rect">
            <a:avLst/>
          </a:prstGeom>
          <a:noFill/>
          <a:ln>
            <a:solidFill>
              <a:srgbClr val="0A4E78"/>
            </a:solidFill>
            <a:miter lim="800000"/>
          </a:ln>
        </p:spPr>
        <p:txBody>
          <a:bodyPr wrap="square" lIns="459000" tIns="351000" rIns="0" bIns="0" rtlCol="0" anchor="t">
            <a:noAutofit/>
          </a:bodyPr>
          <a:lstStyle/>
          <a:p>
            <a:pPr rtl="0">
              <a:lnSpc>
                <a:spcPct val="90000"/>
              </a:lnSpc>
              <a:spcAft>
                <a:spcPts val="450"/>
              </a:spcAft>
            </a:pPr>
            <a:endParaRPr lang="de-DE" sz="4000" dirty="0">
              <a:solidFill>
                <a:schemeClr val="bg1"/>
              </a:solidFill>
              <a:latin typeface="+mn-lt"/>
              <a:ea typeface="+mn-ea"/>
              <a:cs typeface="+mn-cs"/>
              <a:sym typeface="Novel Sans Pro" panose="02000000000000000000" pitchFamily="50" charset="0"/>
            </a:endParaRPr>
          </a:p>
        </p:txBody>
      </p:sp>
      <p:pic>
        <p:nvPicPr>
          <p:cNvPr id="10" name="Picture 9" descr="A picture containing graphical user interface&#10;&#10;Description automatically generated">
            <a:extLst>
              <a:ext uri="{FF2B5EF4-FFF2-40B4-BE49-F238E27FC236}">
                <a16:creationId xmlns:a16="http://schemas.microsoft.com/office/drawing/2014/main" id="{DC8DF761-1102-4CC5-B688-B2A1DE75E87C}"/>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Copyright" hidden="1">
            <a:extLst>
              <a:ext uri="{FF2B5EF4-FFF2-40B4-BE49-F238E27FC236}">
                <a16:creationId xmlns:a16="http://schemas.microsoft.com/office/drawing/2014/main" id="{DD3620D0-91C9-491D-931B-293F10654050}"/>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3023623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8847403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761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8" name="Rectangle 7"/>
          <p:cNvSpPr/>
          <p:nvPr userDrawn="1"/>
        </p:nvSpPr>
        <p:spPr bwMode="white">
          <a:xfrm>
            <a:off x="963557" y="1071098"/>
            <a:ext cx="710754" cy="710754"/>
          </a:xfrm>
          <a:prstGeom prst="rect">
            <a:avLst/>
          </a:prstGeom>
          <a:noFill/>
          <a:ln w="9525" cap="flat" cmpd="sng" algn="ctr">
            <a:solidFill>
              <a:srgbClr val="0A4E78"/>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de-DE" sz="900" dirty="0">
              <a:solidFill>
                <a:schemeClr val="bg1"/>
              </a:solidFill>
              <a:latin typeface="+mn-lt"/>
              <a:ea typeface="+mn-ea"/>
              <a:cs typeface="+mn-cs"/>
              <a:sym typeface="Novel Sans Pro" panose="02000000000000000000" pitchFamily="50" charset="0"/>
            </a:endParaRPr>
          </a:p>
        </p:txBody>
      </p:sp>
      <p:sp>
        <p:nvSpPr>
          <p:cNvPr id="10" name="Rectangle 9"/>
          <p:cNvSpPr/>
          <p:nvPr userDrawn="1"/>
        </p:nvSpPr>
        <p:spPr>
          <a:xfrm>
            <a:off x="963900" y="2000700"/>
            <a:ext cx="7214400" cy="2400300"/>
          </a:xfrm>
          <a:prstGeom prst="rect">
            <a:avLst/>
          </a:prstGeom>
          <a:noFill/>
          <a:ln w="9525" cap="flat" cmpd="sng" algn="ctr">
            <a:solidFill>
              <a:srgbClr val="0A4E78"/>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de-DE" sz="1500" dirty="0">
              <a:solidFill>
                <a:prstClr val="white"/>
              </a:solidFill>
              <a:latin typeface="+mn-lt"/>
              <a:ea typeface="+mn-ea"/>
              <a:cs typeface="+mn-cs"/>
              <a:sym typeface="Novel Sans Pro" panose="02000000000000000000" pitchFamily="50" charset="0"/>
            </a:endParaRPr>
          </a:p>
        </p:txBody>
      </p:sp>
      <p:pic>
        <p:nvPicPr>
          <p:cNvPr id="6" name="Picture 5" descr="A picture containing graphical user interface&#10;&#10;Description automatically generated">
            <a:extLst>
              <a:ext uri="{FF2B5EF4-FFF2-40B4-BE49-F238E27FC236}">
                <a16:creationId xmlns:a16="http://schemas.microsoft.com/office/drawing/2014/main" id="{D381E56C-229B-4A74-B330-CE79DA0373E2}"/>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7" name="Copyright" hidden="1">
            <a:extLst>
              <a:ext uri="{FF2B5EF4-FFF2-40B4-BE49-F238E27FC236}">
                <a16:creationId xmlns:a16="http://schemas.microsoft.com/office/drawing/2014/main" id="{96CCDDAC-0948-4C92-82A5-B0EDFADED73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3824418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346003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863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cxnSp>
        <p:nvCxnSpPr>
          <p:cNvPr id="9" name="Straight Connector 8"/>
          <p:cNvCxnSpPr/>
          <p:nvPr userDrawn="1"/>
        </p:nvCxnSpPr>
        <p:spPr bwMode="white">
          <a:xfrm>
            <a:off x="464174" y="904500"/>
            <a:ext cx="8682228" cy="0"/>
          </a:xfrm>
          <a:prstGeom prst="line">
            <a:avLst/>
          </a:prstGeom>
          <a:ln w="9525" cap="flat" cmpd="sng" algn="ctr">
            <a:solidFill>
              <a:srgbClr val="0A4E78"/>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880D1D58-6ABF-47D3-BFF7-772AB1CF7CF6}"/>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Copyright" hidden="1">
            <a:extLst>
              <a:ext uri="{FF2B5EF4-FFF2-40B4-BE49-F238E27FC236}">
                <a16:creationId xmlns:a16="http://schemas.microsoft.com/office/drawing/2014/main" id="{43C72ECD-4E63-4F1C-9BD0-58B658CEF725}"/>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
        <p:nvSpPr>
          <p:cNvPr id="4" name="Title 3">
            <a:extLst>
              <a:ext uri="{FF2B5EF4-FFF2-40B4-BE49-F238E27FC236}">
                <a16:creationId xmlns:a16="http://schemas.microsoft.com/office/drawing/2014/main" id="{76D125E9-7432-47D8-AD5A-D3FFFFD17404}"/>
              </a:ext>
            </a:extLst>
          </p:cNvPr>
          <p:cNvSpPr>
            <a:spLocks noGrp="1"/>
          </p:cNvSpPr>
          <p:nvPr>
            <p:ph type="title" hasCustomPrompt="1"/>
          </p:nvPr>
        </p:nvSpPr>
        <p:spPr/>
        <p:txBody>
          <a:bodyPr vert="horz"/>
          <a:lstStyle>
            <a:lvl1pPr rtl="0">
              <a:defRPr>
                <a:latin typeface="+mj-lt"/>
                <a:ea typeface="+mj-ea"/>
                <a:cs typeface="+mj-cs"/>
                <a:sym typeface="Novel Sans Pro" panose="02000000000000000000" pitchFamily="50" charset="0"/>
              </a:defRPr>
            </a:lvl1pPr>
          </a:lstStyle>
          <a:p>
            <a:r>
              <a:rPr lang="de-DE" dirty="0"/>
              <a:t>Agenda</a:t>
            </a:r>
          </a:p>
        </p:txBody>
      </p:sp>
    </p:spTree>
    <p:extLst>
      <p:ext uri="{BB962C8B-B14F-4D97-AF65-F5344CB8AC3E}">
        <p14:creationId xmlns:p14="http://schemas.microsoft.com/office/powerpoint/2010/main" val="9498527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53000">
              <a:srgbClr val="A8BCCF"/>
            </a:gs>
            <a:gs pos="4000">
              <a:srgbClr val="4C7895"/>
            </a:gs>
            <a:gs pos="92000">
              <a:srgbClr val="FFFFFF"/>
            </a:gs>
          </a:gsLst>
          <a:lin ang="162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2823608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6966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10" name="TextBox 9"/>
          <p:cNvSpPr txBox="1"/>
          <p:nvPr userDrawn="1"/>
        </p:nvSpPr>
        <p:spPr>
          <a:xfrm>
            <a:off x="472501" y="2446609"/>
            <a:ext cx="1435203" cy="341632"/>
          </a:xfrm>
          <a:prstGeom prst="rect">
            <a:avLst/>
          </a:prstGeom>
          <a:noFill/>
        </p:spPr>
        <p:txBody>
          <a:bodyPr wrap="square" lIns="0" tIns="0" rIns="0" bIns="0" rtlCol="0" anchor="t">
            <a:spAutoFit/>
          </a:bodyPr>
          <a:lstStyle/>
          <a:p>
            <a:pPr rtl="0">
              <a:lnSpc>
                <a:spcPct val="90000"/>
              </a:lnSpc>
              <a:spcAft>
                <a:spcPts val="450"/>
              </a:spcAft>
            </a:pPr>
            <a:r>
              <a:rPr lang="de-DE" sz="2400" i="1" dirty="0">
                <a:solidFill>
                  <a:schemeClr val="bg1"/>
                </a:solidFill>
                <a:latin typeface="+mn-lt"/>
                <a:ea typeface="+mn-ea"/>
                <a:cs typeface="+mn-cs"/>
                <a:sym typeface="Novel Sans Pro" panose="02000000000000000000" pitchFamily="50" charset="0"/>
              </a:rPr>
              <a:t>Agenda</a:t>
            </a:r>
          </a:p>
        </p:txBody>
      </p:sp>
      <p:pic>
        <p:nvPicPr>
          <p:cNvPr id="8" name="Picture 7" descr="A picture containing graphical user interface&#10;&#10;Description automatically generated">
            <a:extLst>
              <a:ext uri="{FF2B5EF4-FFF2-40B4-BE49-F238E27FC236}">
                <a16:creationId xmlns:a16="http://schemas.microsoft.com/office/drawing/2014/main" id="{F6AC124A-8403-42FC-BBBF-5C4FF188186D}"/>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9" name="Slide Number Placeholder 28">
            <a:extLst>
              <a:ext uri="{FF2B5EF4-FFF2-40B4-BE49-F238E27FC236}">
                <a16:creationId xmlns:a16="http://schemas.microsoft.com/office/drawing/2014/main" id="{98B2E92A-6A9E-4EBC-8E05-4138DB9B4D08}"/>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sp>
        <p:nvSpPr>
          <p:cNvPr id="11" name="Copyright" hidden="1">
            <a:extLst>
              <a:ext uri="{FF2B5EF4-FFF2-40B4-BE49-F238E27FC236}">
                <a16:creationId xmlns:a16="http://schemas.microsoft.com/office/drawing/2014/main" id="{5FD44F8D-52DE-425D-970E-7F89C29DDA0A}"/>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rgbClr val="7F7F7F"/>
                </a:solidFill>
                <a:latin typeface="+mn-lt"/>
                <a:ea typeface="+mn-ea"/>
                <a:cs typeface="+mn-cs"/>
                <a:sym typeface="Novel Sans Pro" panose="02000000000000000000" pitchFamily="50" charset="0"/>
              </a:rPr>
              <a:t>Copyright © 2021 </a:t>
            </a:r>
            <a:r>
              <a:rPr lang="de-DE" sz="600" dirty="0" err="1">
                <a:solidFill>
                  <a:srgbClr val="7F7F7F"/>
                </a:solidFill>
                <a:latin typeface="+mn-lt"/>
                <a:ea typeface="+mn-ea"/>
                <a:cs typeface="+mn-cs"/>
                <a:sym typeface="Novel Sans Pro" panose="02000000000000000000" pitchFamily="50" charset="0"/>
              </a:rPr>
              <a:t>by</a:t>
            </a:r>
            <a:r>
              <a:rPr lang="de-DE" sz="600" dirty="0">
                <a:solidFill>
                  <a:srgbClr val="7F7F7F"/>
                </a:solidFill>
                <a:latin typeface="+mn-lt"/>
                <a:ea typeface="+mn-ea"/>
                <a:cs typeface="+mn-cs"/>
                <a:sym typeface="Novel Sans Pro" panose="02000000000000000000" pitchFamily="50" charset="0"/>
              </a:rPr>
              <a:t> Boston Consulting Group. All </a:t>
            </a:r>
            <a:r>
              <a:rPr lang="de-DE" sz="600" dirty="0" err="1">
                <a:solidFill>
                  <a:srgbClr val="7F7F7F"/>
                </a:solidFill>
                <a:latin typeface="+mn-lt"/>
                <a:ea typeface="+mn-ea"/>
                <a:cs typeface="+mn-cs"/>
                <a:sym typeface="Novel Sans Pro" panose="02000000000000000000" pitchFamily="50" charset="0"/>
              </a:rPr>
              <a:t>rights</a:t>
            </a:r>
            <a:r>
              <a:rPr lang="de-DE" sz="600" dirty="0">
                <a:solidFill>
                  <a:srgbClr val="7F7F7F"/>
                </a:solidFill>
                <a:latin typeface="+mn-lt"/>
                <a:ea typeface="+mn-ea"/>
                <a:cs typeface="+mn-cs"/>
                <a:sym typeface="Novel Sans Pro" panose="02000000000000000000" pitchFamily="50" charset="0"/>
              </a:rPr>
              <a:t> </a:t>
            </a:r>
            <a:r>
              <a:rPr lang="de-DE" sz="600" dirty="0" err="1">
                <a:solidFill>
                  <a:srgbClr val="7F7F7F"/>
                </a:solidFill>
                <a:latin typeface="+mn-lt"/>
                <a:ea typeface="+mn-ea"/>
                <a:cs typeface="+mn-cs"/>
                <a:sym typeface="Novel Sans Pro" panose="02000000000000000000" pitchFamily="50" charset="0"/>
              </a:rPr>
              <a:t>reserved</a:t>
            </a:r>
            <a:r>
              <a:rPr lang="de-DE" sz="600" dirty="0">
                <a:solidFill>
                  <a:srgbClr val="7F7F7F"/>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42619774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10410936"/>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spid="_x0000_s7068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de-DE" sz="900" dirty="0">
              <a:solidFill>
                <a:prstClr val="white"/>
              </a:solidFill>
              <a:latin typeface="+mn-lt"/>
              <a:ea typeface="+mn-ea"/>
              <a:cs typeface="+mn-cs"/>
              <a:sym typeface="Novel Sans Pro" panose="02000000000000000000" pitchFamily="50" charset="0"/>
            </a:endParaRP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ED206603-4F24-4F9E-B1E3-1236AE712847}"/>
              </a:ext>
            </a:extLst>
          </p:cNvPr>
          <p:cNvSpPr txBox="1"/>
          <p:nvPr userDrawn="1"/>
        </p:nvSpPr>
        <p:spPr>
          <a:xfrm>
            <a:off x="472500" y="2010058"/>
            <a:ext cx="2114550" cy="1123384"/>
          </a:xfrm>
          <a:prstGeom prst="rect">
            <a:avLst/>
          </a:prstGeom>
          <a:noFill/>
        </p:spPr>
        <p:txBody>
          <a:bodyPr wrap="square" lIns="0" tIns="0" rIns="0" bIns="0" rtlCol="0" anchor="ctr">
            <a:spAutoFit/>
          </a:bodyPr>
          <a:lstStyle>
            <a:defPPr>
              <a:defRPr lang="de-DE"/>
            </a:defPPr>
            <a:lvl1pPr marL="0" lvl="0" indent="0">
              <a:lnSpc>
                <a:spcPct val="90000"/>
              </a:lnSpc>
              <a:spcAft>
                <a:spcPts val="0"/>
              </a:spcAft>
              <a:buFontTx/>
              <a:buNone/>
              <a:defRPr sz="4000" i="1">
                <a:solidFill>
                  <a:srgbClr val="0A4E78"/>
                </a:solidFill>
                <a:latin typeface="+mn-lt"/>
                <a:cs typeface="+mn-cs"/>
              </a:defRPr>
            </a:lvl1pPr>
          </a:lstStyle>
          <a:p>
            <a:pPr marL="0" lvl="0" indent="0" rtl="0"/>
            <a:r>
              <a:rPr lang="de-DE" dirty="0">
                <a:latin typeface="+mn-lt"/>
                <a:ea typeface="+mn-ea"/>
                <a:cs typeface="+mn-cs"/>
                <a:sym typeface="Novel Sans Pro" panose="02000000000000000000" pitchFamily="50" charset="0"/>
              </a:rPr>
              <a:t>Table </a:t>
            </a:r>
            <a:r>
              <a:rPr lang="de-DE" dirty="0" err="1">
                <a:latin typeface="+mn-lt"/>
                <a:ea typeface="+mn-ea"/>
                <a:cs typeface="+mn-cs"/>
                <a:sym typeface="Novel Sans Pro" panose="02000000000000000000" pitchFamily="50" charset="0"/>
              </a:rPr>
              <a:t>of</a:t>
            </a:r>
            <a:r>
              <a:rPr lang="de-DE" dirty="0">
                <a:latin typeface="+mn-lt"/>
                <a:ea typeface="+mn-ea"/>
                <a:cs typeface="+mn-cs"/>
                <a:sym typeface="Novel Sans Pro" panose="02000000000000000000" pitchFamily="50" charset="0"/>
              </a:rPr>
              <a:t> </a:t>
            </a:r>
            <a:r>
              <a:rPr lang="de-DE" dirty="0" err="1">
                <a:latin typeface="+mn-lt"/>
                <a:ea typeface="+mn-ea"/>
                <a:cs typeface="+mn-cs"/>
                <a:sym typeface="Novel Sans Pro" panose="02000000000000000000" pitchFamily="50" charset="0"/>
              </a:rPr>
              <a:t>contents</a:t>
            </a:r>
            <a:endParaRPr lang="de-DE" dirty="0">
              <a:latin typeface="+mn-lt"/>
              <a:ea typeface="+mn-ea"/>
              <a:cs typeface="+mn-cs"/>
              <a:sym typeface="Novel Sans Pro" panose="02000000000000000000" pitchFamily="50" charset="0"/>
            </a:endParaRPr>
          </a:p>
        </p:txBody>
      </p:sp>
      <p:pic>
        <p:nvPicPr>
          <p:cNvPr id="11" name="Picture 10" descr="A picture containing graphical user interface&#10;&#10;Description automatically generated">
            <a:extLst>
              <a:ext uri="{FF2B5EF4-FFF2-40B4-BE49-F238E27FC236}">
                <a16:creationId xmlns:a16="http://schemas.microsoft.com/office/drawing/2014/main" id="{FCD87D8E-C59A-4080-938B-2E5D5302E916}"/>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2" name="Slide Number Placeholder 28">
            <a:extLst>
              <a:ext uri="{FF2B5EF4-FFF2-40B4-BE49-F238E27FC236}">
                <a16:creationId xmlns:a16="http://schemas.microsoft.com/office/drawing/2014/main" id="{34051B23-A2AA-48C0-93FC-56B1F04B071A}"/>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4" name="Copyright" hidden="1">
            <a:extLst>
              <a:ext uri="{FF2B5EF4-FFF2-40B4-BE49-F238E27FC236}">
                <a16:creationId xmlns:a16="http://schemas.microsoft.com/office/drawing/2014/main" id="{478A19F3-A371-49C0-9437-5A057B65F0E4}"/>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1702852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472500" y="300174"/>
            <a:ext cx="6331747" cy="415498"/>
          </a:xfrm>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472050" y="1564221"/>
            <a:ext cx="8200463" cy="3054732"/>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sym typeface="Trebuchet MS" panose="020B0603020202020204" pitchFamily="34" charset="0"/>
              </a:rPr>
              <a:t>Copyright © 2021 by Boston Consulting Group. All rights reserved.</a:t>
            </a:r>
            <a:endParaRPr lang="en-US" sz="525"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662531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DE7ADCA-9655-4E3F-A3C5-401C0C1EEF2A}"/>
              </a:ext>
            </a:extLst>
          </p:cNvPr>
          <p:cNvGraphicFramePr>
            <a:graphicFrameLocks noChangeAspect="1"/>
          </p:cNvGraphicFramePr>
          <p:nvPr userDrawn="1">
            <p:custDataLst>
              <p:tags r:id="rId2"/>
            </p:custDataLst>
            <p:extLst>
              <p:ext uri="{D42A27DB-BD31-4B8C-83A1-F6EECF244321}">
                <p14:modId xmlns:p14="http://schemas.microsoft.com/office/powerpoint/2010/main" val="1144439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0"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ADE7ADCA-9655-4E3F-A3C5-401C0C1EEF2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472500" y="2870100"/>
            <a:ext cx="8202600" cy="1530900"/>
          </a:xfrm>
        </p:spPr>
        <p:txBody>
          <a:bodyPr vert="horz" anchor="t">
            <a:noAutofit/>
          </a:bodyPr>
          <a:lstStyle>
            <a:lvl1pPr rtl="0">
              <a:defRPr sz="400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a:t>
            </a:r>
            <a:r>
              <a:rPr lang="de-DE" dirty="0" err="1"/>
              <a:t>section</a:t>
            </a:r>
            <a:r>
              <a:rPr lang="de-DE" dirty="0"/>
              <a:t> title</a:t>
            </a:r>
          </a:p>
        </p:txBody>
      </p:sp>
      <p:cxnSp>
        <p:nvCxnSpPr>
          <p:cNvPr id="10" name="Straight Connector 9"/>
          <p:cNvCxnSpPr/>
          <p:nvPr userDrawn="1"/>
        </p:nvCxnSpPr>
        <p:spPr bwMode="white">
          <a:xfrm>
            <a:off x="472501" y="2760012"/>
            <a:ext cx="8668940" cy="0"/>
          </a:xfrm>
          <a:prstGeom prst="line">
            <a:avLst/>
          </a:prstGeom>
          <a:ln w="19050" cmpd="sng">
            <a:solidFill>
              <a:srgbClr val="0A4E78"/>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6" name="Picture 5" descr="A picture containing graphical user interface&#10;&#10;Description automatically generated">
            <a:extLst>
              <a:ext uri="{FF2B5EF4-FFF2-40B4-BE49-F238E27FC236}">
                <a16:creationId xmlns:a16="http://schemas.microsoft.com/office/drawing/2014/main" id="{16903EDB-ECF6-441F-BA0E-630DE6E44EEE}"/>
              </a:ext>
            </a:extLst>
          </p:cNvPr>
          <p:cNvPicPr>
            <a:picLocks noChangeAspect="1"/>
          </p:cNvPicPr>
          <p:nvPr userDrawn="1"/>
        </p:nvPicPr>
        <p:blipFill rotWithShape="1">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8" name="Rectangle 7">
            <a:extLst>
              <a:ext uri="{FF2B5EF4-FFF2-40B4-BE49-F238E27FC236}">
                <a16:creationId xmlns:a16="http://schemas.microsoft.com/office/drawing/2014/main" id="{F68F1132-EC37-4B98-88DD-142A782E7647}"/>
              </a:ext>
            </a:extLst>
          </p:cNvPr>
          <p:cNvSpPr/>
          <p:nvPr userDrawn="1"/>
        </p:nvSpPr>
        <p:spPr bwMode="auto">
          <a:xfrm>
            <a:off x="0" y="-2432"/>
            <a:ext cx="184609" cy="5143500"/>
          </a:xfrm>
          <a:prstGeom prst="rect">
            <a:avLst/>
          </a:prstGeom>
          <a:gradFill flip="none" rotWithShape="1">
            <a:gsLst>
              <a:gs pos="53000">
                <a:srgbClr val="A8BCCF"/>
              </a:gs>
              <a:gs pos="4000">
                <a:srgbClr val="4C7895"/>
              </a:gs>
              <a:gs pos="92000">
                <a:schemeClr val="bg1"/>
              </a:gs>
            </a:gsLst>
            <a:lin ang="16200000" scaled="1"/>
            <a:tileRect/>
          </a:gradFill>
          <a:ln>
            <a:noFill/>
          </a:ln>
          <a:effectLst/>
        </p:spPr>
        <p:txBody>
          <a:bodyPr vert="horz" wrap="square" lIns="91440" tIns="45720" rIns="91440" bIns="45720" numCol="1" rtlCol="0" anchor="t" anchorCtr="0" compatLnSpc="1">
            <a:prstTxWarp prst="textNoShape">
              <a:avLst/>
            </a:prstTxWarp>
            <a:noAutofit/>
          </a:bodyPr>
          <a:lstStyle/>
          <a:p>
            <a:pPr algn="ctr" rtl="0">
              <a:buFont typeface="Arial" panose="020B0604020202020204" pitchFamily="34" charset="0"/>
            </a:pPr>
            <a:endParaRPr lang="de-DE" sz="1200" dirty="0">
              <a:solidFill>
                <a:srgbClr val="000000"/>
              </a:solidFill>
              <a:latin typeface="+mn-lt"/>
              <a:ea typeface="+mn-ea"/>
              <a:cs typeface="+mn-cs"/>
              <a:sym typeface="Novel Sans Pro" panose="02000000000000000000" pitchFamily="50" charset="0"/>
            </a:endParaRPr>
          </a:p>
        </p:txBody>
      </p:sp>
    </p:spTree>
    <p:extLst>
      <p:ext uri="{BB962C8B-B14F-4D97-AF65-F5344CB8AC3E}">
        <p14:creationId xmlns:p14="http://schemas.microsoft.com/office/powerpoint/2010/main" val="41824470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53000">
              <a:srgbClr val="A8BCCF"/>
            </a:gs>
            <a:gs pos="4000">
              <a:srgbClr val="4C7895"/>
            </a:gs>
            <a:gs pos="92000">
              <a:schemeClr val="bg1"/>
            </a:gs>
          </a:gsLst>
          <a:lin ang="162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A64970A-2D6E-4A62-A3C9-6D7F49F68200}"/>
              </a:ext>
            </a:extLst>
          </p:cNvPr>
          <p:cNvGraphicFramePr>
            <a:graphicFrameLocks noChangeAspect="1"/>
          </p:cNvGraphicFramePr>
          <p:nvPr userDrawn="1">
            <p:custDataLst>
              <p:tags r:id="rId2"/>
            </p:custDataLst>
            <p:extLst>
              <p:ext uri="{D42A27DB-BD31-4B8C-83A1-F6EECF244321}">
                <p14:modId xmlns:p14="http://schemas.microsoft.com/office/powerpoint/2010/main" val="1313109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44" name="think-cell Slide" r:id="rId4" imgW="473" imgH="474" progId="TCLayout.ActiveDocument.1">
                  <p:embed/>
                </p:oleObj>
              </mc:Choice>
              <mc:Fallback>
                <p:oleObj name="think-cell Slide" r:id="rId4" imgW="473" imgH="474" progId="TCLayout.ActiveDocument.1">
                  <p:embed/>
                  <p:pic>
                    <p:nvPicPr>
                      <p:cNvPr id="3" name="Object 2" hidden="1">
                        <a:extLst>
                          <a:ext uri="{FF2B5EF4-FFF2-40B4-BE49-F238E27FC236}">
                            <a16:creationId xmlns:a16="http://schemas.microsoft.com/office/drawing/2014/main" id="{3A64970A-2D6E-4A62-A3C9-6D7F49F6820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24" name="Rectangle 23"/>
          <p:cNvSpPr/>
          <p:nvPr userDrawn="1"/>
        </p:nvSpPr>
        <p:spPr bwMode="white">
          <a:xfrm>
            <a:off x="0" y="0"/>
            <a:ext cx="305963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sp>
        <p:nvSpPr>
          <p:cNvPr id="25"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2400">
                <a:solidFill>
                  <a:srgbClr val="0A4E78"/>
                </a:solidFill>
                <a:latin typeface="+mj-lt"/>
                <a:ea typeface="+mj-ea"/>
                <a:cs typeface="+mj-cs"/>
                <a:sym typeface="Novel Sans Pro" panose="02000000000000000000" pitchFamily="50" charset="0"/>
              </a:defRPr>
            </a:lvl1pPr>
          </a:lstStyle>
          <a:p>
            <a:r>
              <a:rPr lang="de-DE" dirty="0"/>
              <a:t>Click </a:t>
            </a:r>
            <a:r>
              <a:rPr lang="de-DE" dirty="0" err="1"/>
              <a:t>to</a:t>
            </a:r>
            <a:r>
              <a:rPr lang="de-DE" dirty="0"/>
              <a:t> </a:t>
            </a:r>
            <a:r>
              <a:rPr lang="de-DE" dirty="0" err="1"/>
              <a:t>add</a:t>
            </a:r>
            <a:r>
              <a:rPr lang="de-DE" dirty="0"/>
              <a:t> title</a:t>
            </a:r>
          </a:p>
        </p:txBody>
      </p:sp>
      <p:pic>
        <p:nvPicPr>
          <p:cNvPr id="9" name="Picture 8" descr="A picture containing graphical user interface&#10;&#10;Description automatically generated">
            <a:extLst>
              <a:ext uri="{FF2B5EF4-FFF2-40B4-BE49-F238E27FC236}">
                <a16:creationId xmlns:a16="http://schemas.microsoft.com/office/drawing/2014/main" id="{4964D6B7-3375-40A3-8F5A-AA03F80772F1}"/>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1EDDC968-A27D-4266-BC48-4942DBAE30C5}"/>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B9B42BF9-7712-42AB-92DC-EE29E141C7D3}"/>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Tree>
    <p:extLst>
      <p:ext uri="{BB962C8B-B14F-4D97-AF65-F5344CB8AC3E}">
        <p14:creationId xmlns:p14="http://schemas.microsoft.com/office/powerpoint/2010/main" val="2081560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53000">
              <a:srgbClr val="A8BCCF"/>
            </a:gs>
            <a:gs pos="4000">
              <a:srgbClr val="4C7895"/>
            </a:gs>
            <a:gs pos="92000">
              <a:schemeClr val="bg1"/>
            </a:gs>
          </a:gsLst>
          <a:lin ang="16200000" scaled="1"/>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5ED2D2F-8AB9-4F58-BFDA-973A38537A3E}"/>
              </a:ext>
            </a:extLst>
          </p:cNvPr>
          <p:cNvGraphicFramePr>
            <a:graphicFrameLocks noChangeAspect="1"/>
          </p:cNvGraphicFramePr>
          <p:nvPr userDrawn="1">
            <p:custDataLst>
              <p:tags r:id="rId2"/>
            </p:custDataLst>
            <p:extLst>
              <p:ext uri="{D42A27DB-BD31-4B8C-83A1-F6EECF244321}">
                <p14:modId xmlns:p14="http://schemas.microsoft.com/office/powerpoint/2010/main" val="738460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8" name="think-cell Slide" r:id="rId4" imgW="328" imgH="328" progId="TCLayout.ActiveDocument.1">
                  <p:embed/>
                </p:oleObj>
              </mc:Choice>
              <mc:Fallback>
                <p:oleObj name="think-cell Slide" r:id="rId4" imgW="328" imgH="328"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de-DE" sz="900" dirty="0">
              <a:solidFill>
                <a:schemeClr val="bg1"/>
              </a:solidFill>
              <a:latin typeface="+mn-lt"/>
              <a:ea typeface="+mn-ea"/>
              <a:cs typeface="+mn-cs"/>
              <a:sym typeface="Novel Sans Pro" panose="02000000000000000000" pitchFamily="50" charset="0"/>
            </a:endParaRPr>
          </a:p>
        </p:txBody>
      </p:sp>
      <p:pic>
        <p:nvPicPr>
          <p:cNvPr id="9" name="Picture 8" descr="A picture containing graphical user interface&#10;&#10;Description automatically generated">
            <a:extLst>
              <a:ext uri="{FF2B5EF4-FFF2-40B4-BE49-F238E27FC236}">
                <a16:creationId xmlns:a16="http://schemas.microsoft.com/office/drawing/2014/main" id="{CC762A48-347C-4227-AC98-3AFA1BCF6028}"/>
              </a:ext>
            </a:extLst>
          </p:cNvPr>
          <p:cNvPicPr>
            <a:picLocks noChangeAspect="1"/>
          </p:cNvPicPr>
          <p:nvPr userDrawn="1"/>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l="75090" t="4373" b="86405"/>
          <a:stretch/>
        </p:blipFill>
        <p:spPr>
          <a:xfrm>
            <a:off x="6865335" y="224933"/>
            <a:ext cx="2276877" cy="474314"/>
          </a:xfrm>
          <a:prstGeom prst="rect">
            <a:avLst/>
          </a:prstGeom>
        </p:spPr>
      </p:pic>
      <p:sp>
        <p:nvSpPr>
          <p:cNvPr id="11" name="Slide Number Placeholder 28">
            <a:extLst>
              <a:ext uri="{FF2B5EF4-FFF2-40B4-BE49-F238E27FC236}">
                <a16:creationId xmlns:a16="http://schemas.microsoft.com/office/drawing/2014/main" id="{0FDF337C-8DF0-4D67-B82F-E294AF3D5F6F}"/>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solidFill>
                  <a:schemeClr val="bg1"/>
                </a:solidFill>
                <a:latin typeface="+mn-lt"/>
                <a:ea typeface="+mn-ea"/>
                <a:cs typeface="+mn-cs"/>
                <a:sym typeface="Novel Sans Pro" panose="02000000000000000000" pitchFamily="50" charset="0"/>
              </a:rPr>
              <a:t>Seite </a:t>
            </a:r>
            <a:fld id="{F178A523-3DE9-46DD-9163-F49AFEF9CDD0}" type="slidenum">
              <a:rPr lang="de-DE" smtClean="0">
                <a:solidFill>
                  <a:schemeClr val="bg1"/>
                </a:solidFill>
                <a:latin typeface="+mn-lt"/>
                <a:ea typeface="+mn-ea"/>
                <a:cs typeface="+mn-cs"/>
                <a:sym typeface="Novel Sans Pro" panose="02000000000000000000" pitchFamily="50" charset="0"/>
              </a:rPr>
              <a:pPr algn="r" rtl="0"/>
              <a:t>‹Nr.›</a:t>
            </a:fld>
            <a:endParaRPr lang="de-DE" dirty="0">
              <a:solidFill>
                <a:schemeClr val="bg1"/>
              </a:solidFill>
              <a:latin typeface="+mn-lt"/>
              <a:ea typeface="+mn-ea"/>
              <a:cs typeface="+mn-cs"/>
              <a:sym typeface="Novel Sans Pro" panose="02000000000000000000" pitchFamily="50" charset="0"/>
            </a:endParaRPr>
          </a:p>
        </p:txBody>
      </p:sp>
      <p:sp>
        <p:nvSpPr>
          <p:cNvPr id="12" name="Copyright" hidden="1">
            <a:extLst>
              <a:ext uri="{FF2B5EF4-FFF2-40B4-BE49-F238E27FC236}">
                <a16:creationId xmlns:a16="http://schemas.microsoft.com/office/drawing/2014/main" id="{F8F65E99-E8A1-456A-ACA7-9D2ADB0959FD}"/>
              </a:ext>
            </a:extLst>
          </p:cNvPr>
          <p:cNvSpPr txBox="1"/>
          <p:nvPr userDrawn="1"/>
        </p:nvSpPr>
        <p:spPr>
          <a:xfrm rot="16200000">
            <a:off x="7115177" y="2841535"/>
            <a:ext cx="3850481" cy="85408"/>
          </a:xfrm>
          <a:prstGeom prst="rect">
            <a:avLst/>
          </a:prstGeom>
          <a:noFill/>
        </p:spPr>
        <p:txBody>
          <a:bodyPr wrap="square" lIns="0" tIns="0" rIns="0" bIns="0" rtlCol="0" anchor="t">
            <a:spAutoFit/>
          </a:bodyPr>
          <a:lstStyle/>
          <a:p>
            <a:pPr rtl="0">
              <a:lnSpc>
                <a:spcPct val="90000"/>
              </a:lnSpc>
              <a:spcAft>
                <a:spcPts val="450"/>
              </a:spcAft>
            </a:pPr>
            <a:r>
              <a:rPr lang="de-DE" sz="600" dirty="0">
                <a:solidFill>
                  <a:schemeClr val="bg1"/>
                </a:solidFill>
                <a:latin typeface="+mn-lt"/>
                <a:ea typeface="+mn-ea"/>
                <a:cs typeface="+mn-cs"/>
                <a:sym typeface="Novel Sans Pro" panose="02000000000000000000" pitchFamily="50" charset="0"/>
              </a:rPr>
              <a:t>Copyright © 2021 </a:t>
            </a:r>
            <a:r>
              <a:rPr lang="de-DE" sz="600" dirty="0" err="1">
                <a:solidFill>
                  <a:schemeClr val="bg1"/>
                </a:solidFill>
                <a:latin typeface="+mn-lt"/>
                <a:ea typeface="+mn-ea"/>
                <a:cs typeface="+mn-cs"/>
                <a:sym typeface="Novel Sans Pro" panose="02000000000000000000" pitchFamily="50" charset="0"/>
              </a:rPr>
              <a:t>by</a:t>
            </a:r>
            <a:r>
              <a:rPr lang="de-DE" sz="600" dirty="0">
                <a:solidFill>
                  <a:schemeClr val="bg1"/>
                </a:solidFill>
                <a:latin typeface="+mn-lt"/>
                <a:ea typeface="+mn-ea"/>
                <a:cs typeface="+mn-cs"/>
                <a:sym typeface="Novel Sans Pro" panose="02000000000000000000" pitchFamily="50" charset="0"/>
              </a:rPr>
              <a:t> Boston Consulting Group. All </a:t>
            </a:r>
            <a:r>
              <a:rPr lang="de-DE" sz="600" dirty="0" err="1">
                <a:solidFill>
                  <a:schemeClr val="bg1"/>
                </a:solidFill>
                <a:latin typeface="+mn-lt"/>
                <a:ea typeface="+mn-ea"/>
                <a:cs typeface="+mn-cs"/>
                <a:sym typeface="Novel Sans Pro" panose="02000000000000000000" pitchFamily="50" charset="0"/>
              </a:rPr>
              <a:t>rights</a:t>
            </a:r>
            <a:r>
              <a:rPr lang="de-DE" sz="600" dirty="0">
                <a:solidFill>
                  <a:schemeClr val="bg1"/>
                </a:solidFill>
                <a:latin typeface="+mn-lt"/>
                <a:ea typeface="+mn-ea"/>
                <a:cs typeface="+mn-cs"/>
                <a:sym typeface="Novel Sans Pro" panose="02000000000000000000" pitchFamily="50" charset="0"/>
              </a:rPr>
              <a:t> </a:t>
            </a:r>
            <a:r>
              <a:rPr lang="de-DE" sz="600" dirty="0" err="1">
                <a:solidFill>
                  <a:schemeClr val="bg1"/>
                </a:solidFill>
                <a:latin typeface="+mn-lt"/>
                <a:ea typeface="+mn-ea"/>
                <a:cs typeface="+mn-cs"/>
                <a:sym typeface="Novel Sans Pro" panose="02000000000000000000" pitchFamily="50" charset="0"/>
              </a:rPr>
              <a:t>reserved</a:t>
            </a:r>
            <a:r>
              <a:rPr lang="de-DE" sz="600" dirty="0">
                <a:solidFill>
                  <a:schemeClr val="bg1"/>
                </a:solidFill>
                <a:latin typeface="+mn-lt"/>
                <a:ea typeface="+mn-ea"/>
                <a:cs typeface="+mn-cs"/>
                <a:sym typeface="Novel Sans Pro" panose="02000000000000000000" pitchFamily="50" charset="0"/>
              </a:rPr>
              <a:t>.</a:t>
            </a:r>
          </a:p>
        </p:txBody>
      </p:sp>
      <p:sp>
        <p:nvSpPr>
          <p:cNvPr id="5" name="Title 4">
            <a:extLst>
              <a:ext uri="{FF2B5EF4-FFF2-40B4-BE49-F238E27FC236}">
                <a16:creationId xmlns:a16="http://schemas.microsoft.com/office/drawing/2014/main" id="{72368D8D-0FBE-4216-BB94-7B0DCD648DDD}"/>
              </a:ext>
            </a:extLst>
          </p:cNvPr>
          <p:cNvSpPr>
            <a:spLocks noGrp="1"/>
          </p:cNvSpPr>
          <p:nvPr>
            <p:ph type="title"/>
          </p:nvPr>
        </p:nvSpPr>
        <p:spPr>
          <a:xfrm>
            <a:off x="472501" y="300174"/>
            <a:ext cx="4675564" cy="415498"/>
          </a:xfrm>
        </p:spPr>
        <p:txBody>
          <a:bodyPr vert="horz"/>
          <a:lstStyle>
            <a:lvl1pPr rtl="0">
              <a:defRPr>
                <a:latin typeface="+mj-lt"/>
                <a:ea typeface="+mj-ea"/>
                <a:cs typeface="+mj-cs"/>
                <a:sym typeface="Novel Sans Pro" panose="02000000000000000000" pitchFamily="50" charset="0"/>
              </a:defRPr>
            </a:lvl1pPr>
          </a:lstStyle>
          <a:p>
            <a:r>
              <a:rPr lang="de-DE" dirty="0"/>
              <a:t>Click to edit Master title style</a:t>
            </a:r>
          </a:p>
        </p:txBody>
      </p:sp>
    </p:spTree>
    <p:extLst>
      <p:ext uri="{BB962C8B-B14F-4D97-AF65-F5344CB8AC3E}">
        <p14:creationId xmlns:p14="http://schemas.microsoft.com/office/powerpoint/2010/main" val="6035272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7" Type="http://schemas.openxmlformats.org/officeDocument/2006/relationships/slideLayout" Target="../slideLayouts/slideLayout7.xml"/><Relationship Id="rId71"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2.jp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tags" Target="../tags/tag2.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heme" Target="../theme/theme1.xml"/><Relationship Id="rId75"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73">
            <a:lum/>
          </a:blip>
          <a:srcRect/>
          <a:stretch>
            <a:fillRect/>
          </a:stretch>
        </a:blip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E008C8E-83B4-4B57-B899-FEDA051E8016}"/>
              </a:ext>
            </a:extLst>
          </p:cNvPr>
          <p:cNvGraphicFramePr>
            <a:graphicFrameLocks noChangeAspect="1"/>
          </p:cNvGraphicFramePr>
          <p:nvPr userDrawn="1">
            <p:custDataLst>
              <p:tags r:id="rId72"/>
            </p:custDataLst>
            <p:extLst>
              <p:ext uri="{D42A27DB-BD31-4B8C-83A1-F6EECF244321}">
                <p14:modId xmlns:p14="http://schemas.microsoft.com/office/powerpoint/2010/main" val="2957846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2" name="think-cell Slide" r:id="rId74" imgW="328" imgH="328" progId="TCLayout.ActiveDocument.1">
                  <p:embed/>
                </p:oleObj>
              </mc:Choice>
              <mc:Fallback>
                <p:oleObj name="think-cell Slide" r:id="rId74" imgW="328" imgH="328" progId="TCLayout.ActiveDocument.1">
                  <p:embed/>
                  <p:pic>
                    <p:nvPicPr>
                      <p:cNvPr id="0" name=""/>
                      <p:cNvPicPr/>
                      <p:nvPr/>
                    </p:nvPicPr>
                    <p:blipFill>
                      <a:blip r:embed="rId75"/>
                      <a:stretch>
                        <a:fillRect/>
                      </a:stretch>
                    </p:blipFill>
                    <p:spPr>
                      <a:xfrm>
                        <a:off x="1588" y="1588"/>
                        <a:ext cx="1588" cy="1588"/>
                      </a:xfrm>
                      <a:prstGeom prst="rect">
                        <a:avLst/>
                      </a:prstGeom>
                    </p:spPr>
                  </p:pic>
                </p:oleObj>
              </mc:Fallback>
            </mc:AlternateContent>
          </a:graphicData>
        </a:graphic>
      </p:graphicFrame>
      <p:sp>
        <p:nvSpPr>
          <p:cNvPr id="1026" name="Rectangle 9"/>
          <p:cNvSpPr>
            <a:spLocks noGrp="1" noChangeArrowheads="1"/>
          </p:cNvSpPr>
          <p:nvPr>
            <p:ph type="title"/>
          </p:nvPr>
        </p:nvSpPr>
        <p:spPr bwMode="auto">
          <a:xfrm>
            <a:off x="472500" y="300174"/>
            <a:ext cx="6331747" cy="7848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45720" numCol="1" anchor="t" anchorCtr="0" compatLnSpc="1">
            <a:prstTxWarp prst="textNoShape">
              <a:avLst/>
            </a:prstTxWarp>
            <a:spAutoFit/>
          </a:bodyPr>
          <a:lstStyle/>
          <a:p>
            <a:pPr lvl="0"/>
            <a:r>
              <a:rPr lang="de-DE" altLang="de-DE" dirty="0"/>
              <a:t>Titelmasterformat durch Klicken bearbeiten</a:t>
            </a:r>
            <a:br>
              <a:rPr lang="de-DE" altLang="de-DE" dirty="0"/>
            </a:br>
            <a:endParaRPr lang="de-DE" altLang="de-DE" dirty="0"/>
          </a:p>
        </p:txBody>
      </p:sp>
      <p:sp>
        <p:nvSpPr>
          <p:cNvPr id="1027" name="Rectangle 10"/>
          <p:cNvSpPr>
            <a:spLocks noGrp="1" noChangeArrowheads="1"/>
          </p:cNvSpPr>
          <p:nvPr>
            <p:ph type="body" idx="1"/>
          </p:nvPr>
        </p:nvSpPr>
        <p:spPr bwMode="auto">
          <a:xfrm>
            <a:off x="472500" y="1563638"/>
            <a:ext cx="8381448" cy="3096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91440" bIns="45720" numCol="1" anchor="t" anchorCtr="0" compatLnSpc="1">
            <a:prstTxWarp prst="textNoShape">
              <a:avLst/>
            </a:prstTxWarp>
          </a:bodyPr>
          <a:lstStyle/>
          <a:p>
            <a:pPr lvl="0"/>
            <a:r>
              <a:rPr lang="de-DE" dirty="0"/>
              <a:t>Click to edit Master text styles</a:t>
            </a:r>
          </a:p>
          <a:p>
            <a:pPr lvl="1"/>
            <a:r>
              <a:rPr lang="de-DE" dirty="0"/>
              <a:t>Second level</a:t>
            </a:r>
          </a:p>
          <a:p>
            <a:pPr lvl="2"/>
            <a:r>
              <a:rPr lang="de-DE" dirty="0"/>
              <a:t>Third level</a:t>
            </a:r>
          </a:p>
          <a:p>
            <a:pPr lvl="3"/>
            <a:r>
              <a:rPr lang="de-DE" dirty="0"/>
              <a:t>Fourth level</a:t>
            </a:r>
          </a:p>
          <a:p>
            <a:pPr lvl="4"/>
            <a:r>
              <a:rPr lang="de-DE" dirty="0"/>
              <a:t>Fifth level</a:t>
            </a:r>
            <a:endParaRPr lang="de-DE" altLang="de-DE" dirty="0"/>
          </a:p>
        </p:txBody>
      </p:sp>
      <p:sp>
        <p:nvSpPr>
          <p:cNvPr id="35" name="Slide Number Placeholder 28">
            <a:extLst>
              <a:ext uri="{FF2B5EF4-FFF2-40B4-BE49-F238E27FC236}">
                <a16:creationId xmlns:a16="http://schemas.microsoft.com/office/drawing/2014/main" id="{E2B4108C-4F82-4894-9C0E-33F0E641BBAB}"/>
              </a:ext>
            </a:extLst>
          </p:cNvPr>
          <p:cNvSpPr txBox="1">
            <a:spLocks/>
          </p:cNvSpPr>
          <p:nvPr userDrawn="1"/>
        </p:nvSpPr>
        <p:spPr>
          <a:xfrm>
            <a:off x="7884368" y="4587974"/>
            <a:ext cx="1080120" cy="365125"/>
          </a:xfrm>
          <a:prstGeom prst="rect">
            <a:avLst/>
          </a:prstGeom>
        </p:spPr>
        <p:txBody>
          <a:bodyPr vert="horz" lIns="91440" tIns="45720" rIns="91440" bIns="45720" rtlCol="0" anchor="ctr"/>
          <a:lstStyle>
            <a:defPPr>
              <a:defRPr lang="de-DE"/>
            </a:defPPr>
            <a:lvl1pPr algn="l" rtl="0" fontAlgn="base">
              <a:spcBef>
                <a:spcPct val="0"/>
              </a:spcBef>
              <a:spcAft>
                <a:spcPct val="0"/>
              </a:spcAft>
              <a:defRPr lang="en-US" sz="1200" kern="1200" smtClean="0">
                <a:solidFill>
                  <a:schemeClr val="tx1">
                    <a:tint val="75000"/>
                  </a:schemeClr>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r" rtl="0"/>
            <a:r>
              <a:rPr lang="de-DE" dirty="0">
                <a:latin typeface="+mn-lt"/>
                <a:ea typeface="+mn-ea"/>
                <a:cs typeface="+mn-cs"/>
                <a:sym typeface="Novel Sans Pro" panose="02000000000000000000" pitchFamily="50" charset="0"/>
              </a:rPr>
              <a:t>Seite </a:t>
            </a:r>
            <a:fld id="{F178A523-3DE9-46DD-9163-F49AFEF9CDD0}" type="slidenum">
              <a:rPr lang="de-DE" smtClean="0">
                <a:latin typeface="+mn-lt"/>
                <a:ea typeface="+mn-ea"/>
                <a:cs typeface="+mn-cs"/>
                <a:sym typeface="Novel Sans Pro" panose="02000000000000000000" pitchFamily="50" charset="0"/>
              </a:rPr>
              <a:pPr algn="r" rtl="0"/>
              <a:t>‹Nr.›</a:t>
            </a:fld>
            <a:endParaRPr lang="de-DE" dirty="0">
              <a:latin typeface="+mn-lt"/>
              <a:ea typeface="+mn-ea"/>
              <a:cs typeface="+mn-cs"/>
              <a:sym typeface="Novel Sans Pro" panose="02000000000000000000" pitchFamily="50" charset="0"/>
            </a:endParaRPr>
          </a:p>
        </p:txBody>
      </p:sp>
      <p:cxnSp>
        <p:nvCxnSpPr>
          <p:cNvPr id="19" name="Straight Connector 18">
            <a:extLst>
              <a:ext uri="{FF2B5EF4-FFF2-40B4-BE49-F238E27FC236}">
                <a16:creationId xmlns:a16="http://schemas.microsoft.com/office/drawing/2014/main" id="{A5C11A8C-FA8C-4E8A-8232-33A323B46F6C}"/>
              </a:ext>
            </a:extLst>
          </p:cNvPr>
          <p:cNvCxnSpPr/>
          <p:nvPr userDrawn="1"/>
        </p:nvCxnSpPr>
        <p:spPr bwMode="auto">
          <a:xfrm>
            <a:off x="8894214" y="252746"/>
            <a:ext cx="0" cy="5112568"/>
          </a:xfrm>
          <a:prstGeom prst="lin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cxnSp>
    </p:spTree>
  </p:cSld>
  <p:clrMap bg1="lt1" tx1="dk1" bg2="lt2" tx2="dk2" accent1="accent1" accent2="accent2" accent3="accent3" accent4="accent4" accent5="accent5" accent6="accent6" hlink="hlink" folHlink="folHlink"/>
  <p:sldLayoutIdLst>
    <p:sldLayoutId id="2147483701" r:id="rId1"/>
    <p:sldLayoutId id="214748381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 id="2147483785" r:id="rId13"/>
    <p:sldLayoutId id="2147483786" r:id="rId14"/>
    <p:sldLayoutId id="2147483787" r:id="rId15"/>
    <p:sldLayoutId id="2147483788" r:id="rId16"/>
    <p:sldLayoutId id="2147483789" r:id="rId17"/>
    <p:sldLayoutId id="2147483790" r:id="rId18"/>
    <p:sldLayoutId id="2147483791" r:id="rId19"/>
    <p:sldLayoutId id="2147483792" r:id="rId20"/>
    <p:sldLayoutId id="2147483793" r:id="rId21"/>
    <p:sldLayoutId id="2147483794" r:id="rId22"/>
    <p:sldLayoutId id="2147483795" r:id="rId23"/>
    <p:sldLayoutId id="2147483796" r:id="rId24"/>
    <p:sldLayoutId id="2147483797" r:id="rId25"/>
    <p:sldLayoutId id="2147483798" r:id="rId26"/>
    <p:sldLayoutId id="2147483799" r:id="rId27"/>
    <p:sldLayoutId id="2147483800" r:id="rId28"/>
    <p:sldLayoutId id="2147483801" r:id="rId29"/>
    <p:sldLayoutId id="2147483802" r:id="rId30"/>
    <p:sldLayoutId id="2147483803" r:id="rId31"/>
    <p:sldLayoutId id="2147483745" r:id="rId32"/>
    <p:sldLayoutId id="2147483747" r:id="rId33"/>
    <p:sldLayoutId id="2147483813" r:id="rId34"/>
    <p:sldLayoutId id="2147483749" r:id="rId35"/>
    <p:sldLayoutId id="2147483750" r:id="rId36"/>
    <p:sldLayoutId id="2147483751" r:id="rId37"/>
    <p:sldLayoutId id="2147483752" r:id="rId38"/>
    <p:sldLayoutId id="2147483753" r:id="rId39"/>
    <p:sldLayoutId id="2147483754" r:id="rId40"/>
    <p:sldLayoutId id="2147483755" r:id="rId41"/>
    <p:sldLayoutId id="2147483756" r:id="rId42"/>
    <p:sldLayoutId id="2147483757" r:id="rId43"/>
    <p:sldLayoutId id="2147483758" r:id="rId44"/>
    <p:sldLayoutId id="2147483759" r:id="rId45"/>
    <p:sldLayoutId id="2147483760" r:id="rId46"/>
    <p:sldLayoutId id="2147483761" r:id="rId47"/>
    <p:sldLayoutId id="2147483762" r:id="rId48"/>
    <p:sldLayoutId id="2147483763" r:id="rId49"/>
    <p:sldLayoutId id="2147483764" r:id="rId50"/>
    <p:sldLayoutId id="2147483765" r:id="rId51"/>
    <p:sldLayoutId id="2147483766" r:id="rId52"/>
    <p:sldLayoutId id="2147483767" r:id="rId53"/>
    <p:sldLayoutId id="2147483768" r:id="rId54"/>
    <p:sldLayoutId id="2147483769" r:id="rId55"/>
    <p:sldLayoutId id="2147483770" r:id="rId56"/>
    <p:sldLayoutId id="2147483771" r:id="rId57"/>
    <p:sldLayoutId id="2147483815" r:id="rId58"/>
    <p:sldLayoutId id="2147483773" r:id="rId59"/>
    <p:sldLayoutId id="2147483804" r:id="rId60"/>
    <p:sldLayoutId id="2147483805" r:id="rId61"/>
    <p:sldLayoutId id="2147483806" r:id="rId62"/>
    <p:sldLayoutId id="2147483807" r:id="rId63"/>
    <p:sldLayoutId id="2147483808" r:id="rId64"/>
    <p:sldLayoutId id="2147483809" r:id="rId65"/>
    <p:sldLayoutId id="2147483810" r:id="rId66"/>
    <p:sldLayoutId id="2147483811" r:id="rId67"/>
    <p:sldLayoutId id="2147483812" r:id="rId68"/>
    <p:sldLayoutId id="2147483816" r:id="rId69"/>
  </p:sldLayoutIdLst>
  <p:txStyles>
    <p:titleStyle>
      <a:lvl1pPr algn="l" rtl="0" eaLnBrk="1" fontAlgn="base" hangingPunct="1">
        <a:spcBef>
          <a:spcPct val="0"/>
        </a:spcBef>
        <a:spcAft>
          <a:spcPct val="0"/>
        </a:spcAft>
        <a:defRPr sz="2400" i="1">
          <a:solidFill>
            <a:srgbClr val="0A4E78"/>
          </a:solidFill>
          <a:latin typeface="+mj-lt"/>
          <a:ea typeface="+mj-ea"/>
          <a:cs typeface="+mj-cs"/>
          <a:sym typeface="Novel Sans Pro" panose="02000000000000000000" pitchFamily="50" charset="0"/>
        </a:defRPr>
      </a:lvl1pPr>
      <a:lvl2pPr algn="l" rtl="0" eaLnBrk="1" fontAlgn="base" hangingPunct="1">
        <a:spcBef>
          <a:spcPct val="0"/>
        </a:spcBef>
        <a:spcAft>
          <a:spcPct val="0"/>
        </a:spcAft>
        <a:defRPr sz="2800" i="1">
          <a:solidFill>
            <a:srgbClr val="0A4E78"/>
          </a:solidFill>
          <a:latin typeface="Arial" charset="0"/>
          <a:cs typeface="Arial" charset="0"/>
        </a:defRPr>
      </a:lvl2pPr>
      <a:lvl3pPr algn="l" rtl="0" eaLnBrk="1" fontAlgn="base" hangingPunct="1">
        <a:spcBef>
          <a:spcPct val="0"/>
        </a:spcBef>
        <a:spcAft>
          <a:spcPct val="0"/>
        </a:spcAft>
        <a:defRPr sz="2800" i="1">
          <a:solidFill>
            <a:srgbClr val="0A4E78"/>
          </a:solidFill>
          <a:latin typeface="Arial" charset="0"/>
          <a:cs typeface="Arial" charset="0"/>
        </a:defRPr>
      </a:lvl3pPr>
      <a:lvl4pPr algn="l" rtl="0" eaLnBrk="1" fontAlgn="base" hangingPunct="1">
        <a:spcBef>
          <a:spcPct val="0"/>
        </a:spcBef>
        <a:spcAft>
          <a:spcPct val="0"/>
        </a:spcAft>
        <a:defRPr sz="2800" i="1">
          <a:solidFill>
            <a:srgbClr val="0A4E78"/>
          </a:solidFill>
          <a:latin typeface="Arial" charset="0"/>
          <a:cs typeface="Arial" charset="0"/>
        </a:defRPr>
      </a:lvl4pPr>
      <a:lvl5pPr algn="l" rtl="0" eaLnBrk="1" fontAlgn="base" hangingPunct="1">
        <a:spcBef>
          <a:spcPct val="0"/>
        </a:spcBef>
        <a:spcAft>
          <a:spcPct val="0"/>
        </a:spcAft>
        <a:defRPr sz="2800" i="1">
          <a:solidFill>
            <a:srgbClr val="0A4E78"/>
          </a:solidFill>
          <a:latin typeface="Arial" charset="0"/>
          <a:cs typeface="Arial" charset="0"/>
        </a:defRPr>
      </a:lvl5pPr>
      <a:lvl6pPr marL="457200" algn="l" rtl="0" eaLnBrk="1" fontAlgn="base" hangingPunct="1">
        <a:spcBef>
          <a:spcPct val="0"/>
        </a:spcBef>
        <a:spcAft>
          <a:spcPct val="0"/>
        </a:spcAft>
        <a:defRPr sz="2800" i="1">
          <a:solidFill>
            <a:srgbClr val="0A4E78"/>
          </a:solidFill>
          <a:latin typeface="Arial" charset="0"/>
          <a:cs typeface="Arial" charset="0"/>
        </a:defRPr>
      </a:lvl6pPr>
      <a:lvl7pPr marL="914400" algn="l" rtl="0" eaLnBrk="1" fontAlgn="base" hangingPunct="1">
        <a:spcBef>
          <a:spcPct val="0"/>
        </a:spcBef>
        <a:spcAft>
          <a:spcPct val="0"/>
        </a:spcAft>
        <a:defRPr sz="2800" i="1">
          <a:solidFill>
            <a:srgbClr val="0A4E78"/>
          </a:solidFill>
          <a:latin typeface="Arial" charset="0"/>
          <a:cs typeface="Arial" charset="0"/>
        </a:defRPr>
      </a:lvl7pPr>
      <a:lvl8pPr marL="1371600" algn="l" rtl="0" eaLnBrk="1" fontAlgn="base" hangingPunct="1">
        <a:spcBef>
          <a:spcPct val="0"/>
        </a:spcBef>
        <a:spcAft>
          <a:spcPct val="0"/>
        </a:spcAft>
        <a:defRPr sz="2800" i="1">
          <a:solidFill>
            <a:srgbClr val="0A4E78"/>
          </a:solidFill>
          <a:latin typeface="Arial" charset="0"/>
          <a:cs typeface="Arial" charset="0"/>
        </a:defRPr>
      </a:lvl8pPr>
      <a:lvl9pPr marL="1828800" algn="l" rtl="0" eaLnBrk="1" fontAlgn="base" hangingPunct="1">
        <a:spcBef>
          <a:spcPct val="0"/>
        </a:spcBef>
        <a:spcAft>
          <a:spcPct val="0"/>
        </a:spcAft>
        <a:defRPr sz="2800" i="1">
          <a:solidFill>
            <a:srgbClr val="0A4E78"/>
          </a:solidFill>
          <a:latin typeface="Arial" charset="0"/>
          <a:cs typeface="Arial" charset="0"/>
        </a:defRPr>
      </a:lvl9pPr>
    </p:titleStyle>
    <p:bodyStyle>
      <a:lvl1pPr marL="342900" indent="-342900" algn="l" rtl="0" eaLnBrk="1" fontAlgn="base" hangingPunct="1">
        <a:spcBef>
          <a:spcPct val="20000"/>
        </a:spcBef>
        <a:spcAft>
          <a:spcPct val="0"/>
        </a:spcAft>
        <a:defRPr>
          <a:solidFill>
            <a:srgbClr val="0A4E78"/>
          </a:solidFill>
          <a:latin typeface="+mn-lt"/>
          <a:ea typeface="+mn-ea"/>
          <a:cs typeface="+mn-cs"/>
          <a:sym typeface="Novel Sans Pro" panose="02000000000000000000" pitchFamily="50" charset="0"/>
        </a:defRPr>
      </a:lvl1pPr>
      <a:lvl2pPr marL="432000" indent="-216000" algn="l" rtl="0" eaLnBrk="1" fontAlgn="base" hangingPunct="1">
        <a:spcBef>
          <a:spcPct val="20000"/>
        </a:spcBef>
        <a:spcAft>
          <a:spcPct val="0"/>
        </a:spcAft>
        <a:buFont typeface="Arial" panose="020B0604020202020204" pitchFamily="34" charset="0"/>
        <a:buChar char="•"/>
        <a:defRPr>
          <a:solidFill>
            <a:srgbClr val="0A4E78"/>
          </a:solidFill>
          <a:latin typeface="+mn-lt"/>
          <a:ea typeface="+mn-ea"/>
          <a:cs typeface="+mn-cs"/>
          <a:sym typeface="Novel Sans Pro" panose="02000000000000000000" pitchFamily="50" charset="0"/>
        </a:defRPr>
      </a:lvl2pPr>
      <a:lvl3pPr marL="864000" indent="-216000" algn="l" rtl="0" eaLnBrk="1" fontAlgn="base" hangingPunct="1">
        <a:spcBef>
          <a:spcPct val="20000"/>
        </a:spcBef>
        <a:spcAft>
          <a:spcPct val="0"/>
        </a:spcAft>
        <a:buFont typeface="Symbol" panose="05050102010706020507" pitchFamily="18" charset="2"/>
        <a:buChar char="-"/>
        <a:defRPr>
          <a:solidFill>
            <a:srgbClr val="0A4E78"/>
          </a:solidFill>
          <a:latin typeface="+mn-lt"/>
          <a:ea typeface="+mn-ea"/>
          <a:cs typeface="+mn-cs"/>
          <a:sym typeface="Novel Sans Pro" panose="02000000000000000000" pitchFamily="50" charset="0"/>
        </a:defRPr>
      </a:lvl3pPr>
      <a:lvl4pPr marL="1296000" indent="-216000" algn="l" rtl="0" eaLnBrk="1" fontAlgn="base" hangingPunct="1">
        <a:spcBef>
          <a:spcPct val="20000"/>
        </a:spcBef>
        <a:spcAft>
          <a:spcPct val="0"/>
        </a:spcAft>
        <a:buFont typeface="Symbol" panose="05050102010706020507" pitchFamily="18" charset="2"/>
        <a:buChar char="-"/>
        <a:defRPr>
          <a:solidFill>
            <a:srgbClr val="0A4E78"/>
          </a:solidFill>
          <a:latin typeface="+mn-lt"/>
          <a:ea typeface="+mn-ea"/>
          <a:cs typeface="+mn-cs"/>
          <a:sym typeface="Novel Sans Pro" panose="02000000000000000000" pitchFamily="50" charset="0"/>
        </a:defRPr>
      </a:lvl4pPr>
      <a:lvl5pPr marL="1728000" indent="-216000" algn="l" rtl="0" eaLnBrk="1" fontAlgn="base" hangingPunct="1">
        <a:spcBef>
          <a:spcPct val="20000"/>
        </a:spcBef>
        <a:spcAft>
          <a:spcPct val="0"/>
        </a:spcAft>
        <a:buFont typeface="Symbol" panose="05050102010706020507" pitchFamily="18" charset="2"/>
        <a:buChar char="-"/>
        <a:defRPr>
          <a:solidFill>
            <a:srgbClr val="0A4E78"/>
          </a:solidFill>
          <a:latin typeface="+mn-lt"/>
          <a:ea typeface="+mn-ea"/>
          <a:cs typeface="+mn-cs"/>
          <a:sym typeface="Novel Sans Pro" panose="02000000000000000000" pitchFamily="50" charset="0"/>
        </a:defRPr>
      </a:lvl5pPr>
      <a:lvl6pPr marL="2514600" indent="-228600" algn="l" rtl="0" eaLnBrk="1" fontAlgn="base" hangingPunct="1">
        <a:spcBef>
          <a:spcPct val="20000"/>
        </a:spcBef>
        <a:spcAft>
          <a:spcPct val="0"/>
        </a:spcAft>
        <a:defRPr>
          <a:solidFill>
            <a:srgbClr val="0A4E78"/>
          </a:solidFill>
          <a:latin typeface="+mn-lt"/>
          <a:cs typeface="+mn-cs"/>
        </a:defRPr>
      </a:lvl6pPr>
      <a:lvl7pPr marL="2971800" indent="-228600" algn="l" rtl="0" eaLnBrk="1" fontAlgn="base" hangingPunct="1">
        <a:spcBef>
          <a:spcPct val="20000"/>
        </a:spcBef>
        <a:spcAft>
          <a:spcPct val="0"/>
        </a:spcAft>
        <a:defRPr>
          <a:solidFill>
            <a:srgbClr val="0A4E78"/>
          </a:solidFill>
          <a:latin typeface="+mn-lt"/>
          <a:cs typeface="+mn-cs"/>
        </a:defRPr>
      </a:lvl7pPr>
      <a:lvl8pPr marL="3429000" indent="-228600" algn="l" rtl="0" eaLnBrk="1" fontAlgn="base" hangingPunct="1">
        <a:spcBef>
          <a:spcPct val="20000"/>
        </a:spcBef>
        <a:spcAft>
          <a:spcPct val="0"/>
        </a:spcAft>
        <a:defRPr>
          <a:solidFill>
            <a:srgbClr val="0A4E78"/>
          </a:solidFill>
          <a:latin typeface="+mn-lt"/>
          <a:cs typeface="+mn-cs"/>
        </a:defRPr>
      </a:lvl8pPr>
      <a:lvl9pPr marL="3886200" indent="-228600" algn="l" rtl="0" eaLnBrk="1" fontAlgn="base" hangingPunct="1">
        <a:spcBef>
          <a:spcPct val="20000"/>
        </a:spcBef>
        <a:spcAft>
          <a:spcPct val="0"/>
        </a:spcAft>
        <a:defRPr>
          <a:solidFill>
            <a:srgbClr val="0A4E78"/>
          </a:solidFill>
          <a:latin typeface="+mn-lt"/>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985" userDrawn="1">
          <p15:clr>
            <a:srgbClr val="F26B43"/>
          </p15:clr>
        </p15:guide>
        <p15:guide id="2" pos="295" userDrawn="1">
          <p15:clr>
            <a:srgbClr val="F26B43"/>
          </p15:clr>
        </p15:guide>
        <p15:guide id="3" orient="horz" pos="2935" userDrawn="1">
          <p15:clr>
            <a:srgbClr val="F26B43"/>
          </p15:clr>
        </p15:guide>
        <p15:guide id="4" pos="5577" userDrawn="1">
          <p15:clr>
            <a:srgbClr val="F26B43"/>
          </p15:clr>
        </p15:guide>
        <p15:guide id="5" orient="horz" pos="189" userDrawn="1">
          <p15:clr>
            <a:srgbClr val="F26B43"/>
          </p15:clr>
        </p15:guide>
        <p15:guide id="6" orient="horz" pos="687"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73.xml"/><Relationship Id="rId1" Type="http://schemas.openxmlformats.org/officeDocument/2006/relationships/vmlDrawing" Target="../drawings/vmlDrawing70.vml"/><Relationship Id="rId5" Type="http://schemas.openxmlformats.org/officeDocument/2006/relationships/image" Target="../media/image15.emf"/><Relationship Id="rId4" Type="http://schemas.openxmlformats.org/officeDocument/2006/relationships/oleObject" Target="../embeddings/oleObject70.bin"/></Relationships>
</file>

<file path=ppt/slides/_rels/slide2.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6.emf"/><Relationship Id="rId2" Type="http://schemas.openxmlformats.org/officeDocument/2006/relationships/tags" Target="../tags/tag74.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slideLayout" Target="../slideLayouts/slideLayout4.xml"/><Relationship Id="rId4" Type="http://schemas.openxmlformats.org/officeDocument/2006/relationships/tags" Target="../tags/tag7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7.xml"/><Relationship Id="rId1" Type="http://schemas.openxmlformats.org/officeDocument/2006/relationships/vmlDrawing" Target="../drawings/vmlDrawing72.vml"/><Relationship Id="rId6" Type="http://schemas.openxmlformats.org/officeDocument/2006/relationships/hyperlink" Target="https://www.lgl.bayern.de/downloads/tiergesundheit/doc/verpackungsanweisung_p650.pdf" TargetMode="External"/><Relationship Id="rId5" Type="http://schemas.openxmlformats.org/officeDocument/2006/relationships/image" Target="../media/image16.emf"/><Relationship Id="rId4" Type="http://schemas.openxmlformats.org/officeDocument/2006/relationships/oleObject" Target="../embeddings/oleObject72.bin"/></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1.jpeg"/><Relationship Id="rId3" Type="http://schemas.openxmlformats.org/officeDocument/2006/relationships/tags" Target="../tags/tag79.xml"/><Relationship Id="rId7" Type="http://schemas.openxmlformats.org/officeDocument/2006/relationships/image" Target="../media/image16.emf"/><Relationship Id="rId12" Type="http://schemas.openxmlformats.org/officeDocument/2006/relationships/image" Target="../media/image20.jpeg"/><Relationship Id="rId17" Type="http://schemas.openxmlformats.org/officeDocument/2006/relationships/image" Target="../media/image1.emf"/><Relationship Id="rId2" Type="http://schemas.openxmlformats.org/officeDocument/2006/relationships/tags" Target="../tags/tag78.xml"/><Relationship Id="rId16" Type="http://schemas.openxmlformats.org/officeDocument/2006/relationships/oleObject" Target="../embeddings/oleObject74.bin"/><Relationship Id="rId1" Type="http://schemas.openxmlformats.org/officeDocument/2006/relationships/vmlDrawing" Target="../drawings/vmlDrawing73.vml"/><Relationship Id="rId6" Type="http://schemas.openxmlformats.org/officeDocument/2006/relationships/oleObject" Target="../embeddings/oleObject73.bin"/><Relationship Id="rId11" Type="http://schemas.openxmlformats.org/officeDocument/2006/relationships/image" Target="../media/image19.jpg"/><Relationship Id="rId5" Type="http://schemas.openxmlformats.org/officeDocument/2006/relationships/notesSlide" Target="../notesSlides/notesSlide1.xml"/><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slideLayout" Target="../slideLayouts/slideLayout3.xml"/><Relationship Id="rId9" Type="http://schemas.microsoft.com/office/2007/relationships/hdphoto" Target="../media/hdphoto1.wdp"/><Relationship Id="rId14" Type="http://schemas.openxmlformats.org/officeDocument/2006/relationships/image" Target="../media/image22.jpeg"/></Relationships>
</file>

<file path=ppt/slides/_rels/slide5.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6.emf"/><Relationship Id="rId2" Type="http://schemas.openxmlformats.org/officeDocument/2006/relationships/tags" Target="../tags/tag80.xml"/><Relationship Id="rId1" Type="http://schemas.openxmlformats.org/officeDocument/2006/relationships/vmlDrawing" Target="../drawings/vmlDrawing74.vml"/><Relationship Id="rId6" Type="http://schemas.openxmlformats.org/officeDocument/2006/relationships/oleObject" Target="../embeddings/oleObject75.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82.xml"/><Relationship Id="rId1" Type="http://schemas.openxmlformats.org/officeDocument/2006/relationships/vmlDrawing" Target="../drawings/vmlDrawing75.vml"/><Relationship Id="rId5" Type="http://schemas.openxmlformats.org/officeDocument/2006/relationships/image" Target="../media/image15.emf"/><Relationship Id="rId4" Type="http://schemas.openxmlformats.org/officeDocument/2006/relationships/oleObject" Target="../embeddings/oleObject7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AB1D76C-31AB-4523-BFF5-99DAADAB2E76}"/>
              </a:ext>
            </a:extLst>
          </p:cNvPr>
          <p:cNvGraphicFramePr>
            <a:graphicFrameLocks noChangeAspect="1"/>
          </p:cNvGraphicFramePr>
          <p:nvPr>
            <p:custDataLst>
              <p:tags r:id="rId2"/>
            </p:custDataLst>
            <p:extLst>
              <p:ext uri="{D42A27DB-BD31-4B8C-83A1-F6EECF244321}">
                <p14:modId xmlns:p14="http://schemas.microsoft.com/office/powerpoint/2010/main" val="279866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8" name="think-cell Slide" r:id="rId4" imgW="473" imgH="473" progId="TCLayout.ActiveDocument.1">
                  <p:embed/>
                </p:oleObj>
              </mc:Choice>
              <mc:Fallback>
                <p:oleObj name="think-cell Slide" r:id="rId4" imgW="473" imgH="473" progId="TCLayout.ActiveDocument.1">
                  <p:embed/>
                  <p:pic>
                    <p:nvPicPr>
                      <p:cNvPr id="6" name="Object 5" hidden="1">
                        <a:extLst>
                          <a:ext uri="{FF2B5EF4-FFF2-40B4-BE49-F238E27FC236}">
                            <a16:creationId xmlns:a16="http://schemas.microsoft.com/office/drawing/2014/main" id="{0AB1D76C-31AB-4523-BFF5-99DAADAB2E7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C3E53FE-EC09-44D5-9FD5-61AC68C3511A}"/>
              </a:ext>
            </a:extLst>
          </p:cNvPr>
          <p:cNvSpPr>
            <a:spLocks noGrp="1"/>
          </p:cNvSpPr>
          <p:nvPr>
            <p:ph type="ctrTitle"/>
          </p:nvPr>
        </p:nvSpPr>
        <p:spPr>
          <a:xfrm>
            <a:off x="2411760" y="1845737"/>
            <a:ext cx="5325716" cy="1277273"/>
          </a:xfrm>
        </p:spPr>
        <p:txBody>
          <a:bodyPr vert="horz"/>
          <a:lstStyle/>
          <a:p>
            <a:r>
              <a:rPr lang="de-DE" dirty="0"/>
              <a:t>Hinweise zu Verpackung und Transport</a:t>
            </a:r>
          </a:p>
        </p:txBody>
      </p:sp>
      <p:sp>
        <p:nvSpPr>
          <p:cNvPr id="5" name="Subtitle 4">
            <a:extLst>
              <a:ext uri="{FF2B5EF4-FFF2-40B4-BE49-F238E27FC236}">
                <a16:creationId xmlns:a16="http://schemas.microsoft.com/office/drawing/2014/main" id="{BFCB95FE-2766-4CAF-BA21-9A346A031898}"/>
              </a:ext>
            </a:extLst>
          </p:cNvPr>
          <p:cNvSpPr>
            <a:spLocks noGrp="1"/>
          </p:cNvSpPr>
          <p:nvPr>
            <p:ph type="subTitle" idx="1"/>
          </p:nvPr>
        </p:nvSpPr>
        <p:spPr>
          <a:xfrm>
            <a:off x="971551" y="3219450"/>
            <a:ext cx="6761163" cy="353943"/>
          </a:xfrm>
        </p:spPr>
        <p:txBody>
          <a:bodyPr/>
          <a:lstStyle/>
          <a:p>
            <a:r>
              <a:rPr lang="de-DE" dirty="0"/>
              <a:t>PCR-Pool-Tests in der Kindertagesbetreuung</a:t>
            </a:r>
          </a:p>
        </p:txBody>
      </p:sp>
      <p:sp>
        <p:nvSpPr>
          <p:cNvPr id="7" name="Textfeld 6"/>
          <p:cNvSpPr txBox="1"/>
          <p:nvPr/>
        </p:nvSpPr>
        <p:spPr>
          <a:xfrm>
            <a:off x="325583" y="3880202"/>
            <a:ext cx="7481454" cy="954107"/>
          </a:xfrm>
          <a:prstGeom prst="rect">
            <a:avLst/>
          </a:prstGeom>
          <a:noFill/>
        </p:spPr>
        <p:txBody>
          <a:bodyPr wrap="square" rtlCol="0" anchor="ctr">
            <a:spAutoFit/>
          </a:bodyPr>
          <a:lstStyle/>
          <a:p>
            <a:r>
              <a:rPr lang="de-DE" sz="1400" dirty="0">
                <a:solidFill>
                  <a:schemeClr val="bg1"/>
                </a:solidFill>
                <a:latin typeface="Novel Sans StMAS Regular" panose="02000000000000000000" pitchFamily="50" charset="0"/>
              </a:rPr>
              <a:t>Hinweis: Diese Erläuterungen dienen vor allem der Unterstützung bei der wirtschaftlichen Routenplanung für Landkreise, kreisfreie Städte und kreisangehörige Gemeinden. Sie können auch </a:t>
            </a:r>
            <a:r>
              <a:rPr lang="de-DE" sz="1400" dirty="0" smtClean="0">
                <a:solidFill>
                  <a:schemeClr val="bg1"/>
                </a:solidFill>
                <a:latin typeface="Novel Sans StMAS Regular" panose="02000000000000000000" pitchFamily="50" charset="0"/>
              </a:rPr>
              <a:t>den </a:t>
            </a:r>
            <a:r>
              <a:rPr lang="de-DE" sz="1400" dirty="0">
                <a:solidFill>
                  <a:schemeClr val="bg1"/>
                </a:solidFill>
                <a:latin typeface="Novel Sans StMAS Regular" panose="02000000000000000000" pitchFamily="50" charset="0"/>
              </a:rPr>
              <a:t>freigemeinnützigen Trägern und Trägerverbänden als Hilfestellung dienen. Bitte beachten Sie aber, dass die Transportkosten </a:t>
            </a:r>
            <a:r>
              <a:rPr lang="de-DE" sz="1400" b="1" u="sng" dirty="0">
                <a:solidFill>
                  <a:schemeClr val="bg1"/>
                </a:solidFill>
                <a:latin typeface="Novel Sans StMAS Regular" panose="02000000000000000000" pitchFamily="50" charset="0"/>
              </a:rPr>
              <a:t>nur für Landkreise, kreisfreie Städte und kreisangehörige Gemeinden</a:t>
            </a:r>
            <a:r>
              <a:rPr lang="de-DE" sz="1400" dirty="0">
                <a:solidFill>
                  <a:schemeClr val="bg1"/>
                </a:solidFill>
                <a:latin typeface="Novel Sans StMAS Regular" panose="02000000000000000000" pitchFamily="50" charset="0"/>
              </a:rPr>
              <a:t> erstattet werden.</a:t>
            </a:r>
          </a:p>
        </p:txBody>
      </p:sp>
    </p:spTree>
    <p:extLst>
      <p:ext uri="{BB962C8B-B14F-4D97-AF65-F5344CB8AC3E}">
        <p14:creationId xmlns:p14="http://schemas.microsoft.com/office/powerpoint/2010/main" val="51554320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A7A1B98-4E29-4D2E-90B6-6344D228B310}"/>
              </a:ext>
            </a:extLst>
          </p:cNvPr>
          <p:cNvGraphicFramePr>
            <a:graphicFrameLocks noChangeAspect="1"/>
          </p:cNvGraphicFramePr>
          <p:nvPr>
            <p:custDataLst>
              <p:tags r:id="rId2"/>
            </p:custDataLst>
            <p:extLst>
              <p:ext uri="{D42A27DB-BD31-4B8C-83A1-F6EECF244321}">
                <p14:modId xmlns:p14="http://schemas.microsoft.com/office/powerpoint/2010/main" val="1741975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32"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39B87D74-5C31-46ED-BABA-C04E7E0329F7}"/>
              </a:ext>
            </a:extLst>
          </p:cNvPr>
          <p:cNvSpPr>
            <a:spLocks noGrp="1"/>
          </p:cNvSpPr>
          <p:nvPr>
            <p:ph type="title"/>
          </p:nvPr>
        </p:nvSpPr>
        <p:spPr>
          <a:xfrm>
            <a:off x="472500" y="300174"/>
            <a:ext cx="8275964" cy="784830"/>
          </a:xfrm>
        </p:spPr>
        <p:txBody>
          <a:bodyPr vert="horz"/>
          <a:lstStyle/>
          <a:p>
            <a:r>
              <a:rPr lang="de-DE" dirty="0"/>
              <a:t>Bei der Verpackung und dem Transport von </a:t>
            </a:r>
            <a:br>
              <a:rPr lang="de-DE" dirty="0"/>
            </a:br>
            <a:r>
              <a:rPr lang="de-DE" dirty="0"/>
              <a:t>PCR-Pool- und Individualproben sind einige Aspekte zu beachten</a:t>
            </a:r>
          </a:p>
        </p:txBody>
      </p:sp>
      <p:sp>
        <p:nvSpPr>
          <p:cNvPr id="22" name="ee4pContent1">
            <a:extLst>
              <a:ext uri="{FF2B5EF4-FFF2-40B4-BE49-F238E27FC236}">
                <a16:creationId xmlns:a16="http://schemas.microsoft.com/office/drawing/2014/main" id="{A18941F5-73C0-4804-A355-BB2DBEE653DE}"/>
              </a:ext>
            </a:extLst>
          </p:cNvPr>
          <p:cNvSpPr txBox="1"/>
          <p:nvPr/>
        </p:nvSpPr>
        <p:spPr>
          <a:xfrm>
            <a:off x="1177307" y="1986909"/>
            <a:ext cx="3229600" cy="1846659"/>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Pct val="100000"/>
              <a:buFont typeface="Trebuchet MS" panose="020B0603020202020204" pitchFamily="34" charset="0"/>
              <a:buChar char="​"/>
              <a:defRPr sz="1200">
                <a:solidFill>
                  <a:srgbClr val="000000"/>
                </a:solidFill>
                <a:cs typeface="Arial" pitchFamily="34" charset="0"/>
              </a:defRPr>
            </a:lvl1pPr>
            <a:lvl2pPr marL="324000" lvl="1" indent="-216000">
              <a:buClr>
                <a:srgbClr val="E2001A"/>
              </a:buClr>
              <a:buSzPct val="100000"/>
              <a:buFont typeface="Trebuchet MS" panose="020B0603020202020204" pitchFamily="34" charset="0"/>
              <a:buChar char="•"/>
              <a:defRPr sz="1200">
                <a:solidFill>
                  <a:srgbClr val="000000"/>
                </a:solidFill>
              </a:defRPr>
            </a:lvl2pPr>
            <a:lvl3pPr marL="648000" lvl="2" indent="-216000">
              <a:buClr>
                <a:srgbClr val="E2001A"/>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0000"/>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E2001A"/>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E2001A"/>
                </a:solidFill>
              </a:defRPr>
            </a:lvl8pPr>
            <a:lvl9pPr marL="0" lvl="8">
              <a:buSzPct val="100000"/>
              <a:buFont typeface="Trebuchet MS" panose="020B0603020202020204" pitchFamily="34" charset="0"/>
              <a:buChar char="​"/>
              <a:defRPr sz="2400">
                <a:solidFill>
                  <a:srgbClr val="E2001A"/>
                </a:solidFill>
              </a:defRPr>
            </a:lvl9pPr>
          </a:lstStyle>
          <a:p>
            <a:pPr marL="134541" lvl="1" indent="-134541">
              <a:buClr>
                <a:schemeClr val="tx2"/>
              </a:buClr>
            </a:pPr>
            <a:r>
              <a:rPr lang="de-DE" dirty="0">
                <a:solidFill>
                  <a:srgbClr val="0A4E78"/>
                </a:solidFill>
                <a:sym typeface="Trebuchet MS" panose="020B0603020202020204" pitchFamily="34" charset="0"/>
              </a:rPr>
              <a:t>Bei PCR-Pool- und Individualproben handelt es sich um potentiell infektiöses Material nach UN-Nummer 3373</a:t>
            </a:r>
          </a:p>
          <a:p>
            <a:pPr marL="134541" lvl="1" indent="-134541">
              <a:buClr>
                <a:schemeClr val="tx2"/>
              </a:buClr>
            </a:pPr>
            <a:endParaRPr lang="de-DE" dirty="0">
              <a:solidFill>
                <a:srgbClr val="0A4E78"/>
              </a:solidFill>
              <a:sym typeface="Trebuchet MS" panose="020B0603020202020204" pitchFamily="34" charset="0"/>
            </a:endParaRPr>
          </a:p>
          <a:p>
            <a:pPr marL="134541" lvl="1" indent="-134541">
              <a:buClr>
                <a:schemeClr val="tx2"/>
              </a:buClr>
            </a:pPr>
            <a:r>
              <a:rPr lang="de-DE" dirty="0">
                <a:solidFill>
                  <a:srgbClr val="0A4E78"/>
                </a:solidFill>
                <a:sym typeface="Trebuchet MS" panose="020B0603020202020204" pitchFamily="34" charset="0"/>
              </a:rPr>
              <a:t>Daher ist der Verpackungsanweisung P650 Folge zu leisten</a:t>
            </a:r>
          </a:p>
          <a:p>
            <a:pPr marL="134541" lvl="1" indent="-134541">
              <a:buClr>
                <a:schemeClr val="tx2"/>
              </a:buClr>
            </a:pPr>
            <a:endParaRPr lang="de-DE" dirty="0">
              <a:solidFill>
                <a:srgbClr val="0A4E78"/>
              </a:solidFill>
              <a:sym typeface="Trebuchet MS" panose="020B0603020202020204" pitchFamily="34" charset="0"/>
            </a:endParaRPr>
          </a:p>
          <a:p>
            <a:pPr marL="134541" lvl="1" indent="-134541">
              <a:buClr>
                <a:schemeClr val="tx2"/>
              </a:buClr>
            </a:pPr>
            <a:r>
              <a:rPr lang="de-DE" i="1" dirty="0">
                <a:solidFill>
                  <a:srgbClr val="0A4E78"/>
                </a:solidFill>
                <a:sym typeface="Trebuchet MS" panose="020B0603020202020204" pitchFamily="34" charset="0"/>
              </a:rPr>
              <a:t>Erfahrung aus den Grund- und Förderschulen: </a:t>
            </a:r>
            <a:r>
              <a:rPr lang="de-DE" dirty="0">
                <a:solidFill>
                  <a:srgbClr val="0A4E78"/>
                </a:solidFill>
                <a:sym typeface="Trebuchet MS" panose="020B0603020202020204" pitchFamily="34" charset="0"/>
              </a:rPr>
              <a:t/>
            </a:r>
            <a:br>
              <a:rPr lang="de-DE" dirty="0">
                <a:solidFill>
                  <a:srgbClr val="0A4E78"/>
                </a:solidFill>
                <a:sym typeface="Trebuchet MS" panose="020B0603020202020204" pitchFamily="34" charset="0"/>
              </a:rPr>
            </a:br>
            <a:r>
              <a:rPr lang="de-DE" dirty="0">
                <a:solidFill>
                  <a:srgbClr val="0A4E78"/>
                </a:solidFill>
                <a:sym typeface="Trebuchet MS" panose="020B0603020202020204" pitchFamily="34" charset="0"/>
              </a:rPr>
              <a:t>Test- und Transportmaterialien erfüllen unter Umständen in Kombination bereits diese Auflage</a:t>
            </a:r>
          </a:p>
        </p:txBody>
      </p:sp>
      <p:sp>
        <p:nvSpPr>
          <p:cNvPr id="23" name="ee4pHeader1">
            <a:extLst>
              <a:ext uri="{FF2B5EF4-FFF2-40B4-BE49-F238E27FC236}">
                <a16:creationId xmlns:a16="http://schemas.microsoft.com/office/drawing/2014/main" id="{AFB2DAB7-0B44-4503-AD9C-656BDF590131}"/>
              </a:ext>
            </a:extLst>
          </p:cNvPr>
          <p:cNvSpPr txBox="1"/>
          <p:nvPr/>
        </p:nvSpPr>
        <p:spPr>
          <a:xfrm>
            <a:off x="1177307" y="1239525"/>
            <a:ext cx="2530597" cy="493776"/>
          </a:xfrm>
          <a:prstGeom prst="rect">
            <a:avLst/>
          </a:prstGeom>
          <a:noFill/>
          <a:ln cap="rnd">
            <a:noFill/>
          </a:ln>
        </p:spPr>
        <p:txBody>
          <a:bodyPr vert="horz" wrap="square" lIns="0" tIns="0" rIns="0" bIns="0" rtlCol="0" anchor="b" anchorCtr="0">
            <a:noAutofit/>
          </a:bodyPr>
          <a:lstStyle/>
          <a:p>
            <a:pPr marL="0" lvl="3"/>
            <a:r>
              <a:rPr lang="de-DE" sz="1200" b="1" dirty="0">
                <a:solidFill>
                  <a:srgbClr val="0A4E78"/>
                </a:solidFill>
                <a:latin typeface="Arial" panose="020B0604020202020204" pitchFamily="34" charset="0"/>
              </a:rPr>
              <a:t>Verpackung</a:t>
            </a:r>
          </a:p>
        </p:txBody>
      </p:sp>
      <p:sp>
        <p:nvSpPr>
          <p:cNvPr id="26" name="ee4pHeader2">
            <a:extLst>
              <a:ext uri="{FF2B5EF4-FFF2-40B4-BE49-F238E27FC236}">
                <a16:creationId xmlns:a16="http://schemas.microsoft.com/office/drawing/2014/main" id="{247E3A9F-5361-4B02-BD03-7FBE0588D0D8}"/>
              </a:ext>
            </a:extLst>
          </p:cNvPr>
          <p:cNvSpPr txBox="1"/>
          <p:nvPr/>
        </p:nvSpPr>
        <p:spPr>
          <a:xfrm>
            <a:off x="5463702" y="1239525"/>
            <a:ext cx="3229600" cy="493776"/>
          </a:xfrm>
          <a:prstGeom prst="rect">
            <a:avLst/>
          </a:prstGeom>
          <a:noFill/>
          <a:ln cap="rnd">
            <a:noFill/>
          </a:ln>
        </p:spPr>
        <p:txBody>
          <a:bodyPr vert="horz" wrap="square" lIns="0" tIns="0" rIns="0" bIns="0" rtlCol="0" anchor="b" anchorCtr="0">
            <a:noAutofit/>
          </a:bodyPr>
          <a:lstStyle/>
          <a:p>
            <a:pPr marL="0" lvl="3"/>
            <a:r>
              <a:rPr lang="de-DE" sz="1200" b="1" dirty="0">
                <a:solidFill>
                  <a:srgbClr val="0A4E78"/>
                </a:solidFill>
                <a:latin typeface="Arial" panose="020B0604020202020204" pitchFamily="34" charset="0"/>
              </a:rPr>
              <a:t>Transport</a:t>
            </a:r>
          </a:p>
        </p:txBody>
      </p:sp>
      <p:sp>
        <p:nvSpPr>
          <p:cNvPr id="27" name="ee4pContent1">
            <a:extLst>
              <a:ext uri="{FF2B5EF4-FFF2-40B4-BE49-F238E27FC236}">
                <a16:creationId xmlns:a16="http://schemas.microsoft.com/office/drawing/2014/main" id="{62330ED0-3A70-49DD-8379-9E2F9F6E8507}"/>
              </a:ext>
            </a:extLst>
          </p:cNvPr>
          <p:cNvSpPr txBox="1"/>
          <p:nvPr/>
        </p:nvSpPr>
        <p:spPr>
          <a:xfrm>
            <a:off x="5463702" y="1986909"/>
            <a:ext cx="3229600" cy="2400657"/>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Pct val="100000"/>
              <a:buFont typeface="Trebuchet MS" panose="020B0603020202020204" pitchFamily="34" charset="0"/>
              <a:buChar char="​"/>
              <a:defRPr sz="1200">
                <a:solidFill>
                  <a:srgbClr val="000000"/>
                </a:solidFill>
                <a:cs typeface="Arial" pitchFamily="34" charset="0"/>
              </a:defRPr>
            </a:lvl1pPr>
            <a:lvl2pPr marL="324000" lvl="1" indent="-216000">
              <a:buClr>
                <a:srgbClr val="E2001A"/>
              </a:buClr>
              <a:buSzPct val="100000"/>
              <a:buFont typeface="Trebuchet MS" panose="020B0603020202020204" pitchFamily="34" charset="0"/>
              <a:buChar char="•"/>
              <a:defRPr sz="1200">
                <a:solidFill>
                  <a:srgbClr val="000000"/>
                </a:solidFill>
              </a:defRPr>
            </a:lvl2pPr>
            <a:lvl3pPr marL="648000" lvl="2" indent="-216000">
              <a:buClr>
                <a:srgbClr val="E2001A"/>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0000"/>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E2001A"/>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E2001A"/>
                </a:solidFill>
              </a:defRPr>
            </a:lvl8pPr>
            <a:lvl9pPr marL="0" lvl="8">
              <a:buSzPct val="100000"/>
              <a:buFont typeface="Trebuchet MS" panose="020B0603020202020204" pitchFamily="34" charset="0"/>
              <a:buChar char="​"/>
              <a:defRPr sz="2400">
                <a:solidFill>
                  <a:srgbClr val="E2001A"/>
                </a:solidFill>
              </a:defRPr>
            </a:lvl9pPr>
          </a:lstStyle>
          <a:p>
            <a:pPr marL="134541" lvl="1" indent="-134541">
              <a:buClr>
                <a:schemeClr val="tx2"/>
              </a:buClr>
            </a:pPr>
            <a:r>
              <a:rPr lang="de-DE" dirty="0">
                <a:solidFill>
                  <a:srgbClr val="0A4E78"/>
                </a:solidFill>
                <a:sym typeface="Trebuchet MS" panose="020B0603020202020204" pitchFamily="34" charset="0"/>
              </a:rPr>
              <a:t>Bei der Fahrzeugauswahl ist bzgl. der zu transportierenden Volumina zu beachten</a:t>
            </a:r>
          </a:p>
          <a:p>
            <a:pPr marL="458541" lvl="2" indent="-134541">
              <a:buClr>
                <a:schemeClr val="tx2"/>
              </a:buClr>
            </a:pPr>
            <a:r>
              <a:rPr lang="de-DE" dirty="0">
                <a:solidFill>
                  <a:srgbClr val="0A4E78"/>
                </a:solidFill>
                <a:sym typeface="Trebuchet MS" panose="020B0603020202020204" pitchFamily="34" charset="0"/>
              </a:rPr>
              <a:t>Direkt- und Sammelfahrten können i. d. R. mit normalen PKWs durchgeführt werden</a:t>
            </a:r>
          </a:p>
          <a:p>
            <a:pPr marL="458541" lvl="2" indent="-134541">
              <a:buClr>
                <a:schemeClr val="tx2"/>
              </a:buClr>
            </a:pPr>
            <a:r>
              <a:rPr lang="de-DE" dirty="0">
                <a:solidFill>
                  <a:srgbClr val="0A4E78"/>
                </a:solidFill>
                <a:sym typeface="Trebuchet MS" panose="020B0603020202020204" pitchFamily="34" charset="0"/>
              </a:rPr>
              <a:t>Knotenpunktfahrten (d. h. Bündelung vieler Sammelfahrten) benötigen i. d. R. einen kleinen Transporter</a:t>
            </a:r>
          </a:p>
          <a:p>
            <a:pPr marL="458541" lvl="2" indent="-134541">
              <a:buClr>
                <a:schemeClr val="tx2"/>
              </a:buClr>
            </a:pPr>
            <a:endParaRPr lang="de-DE" dirty="0">
              <a:solidFill>
                <a:srgbClr val="0A4E78"/>
              </a:solidFill>
              <a:sym typeface="Trebuchet MS" panose="020B0603020202020204" pitchFamily="34" charset="0"/>
            </a:endParaRPr>
          </a:p>
          <a:p>
            <a:pPr marL="134541" lvl="1" indent="-134541">
              <a:buClr>
                <a:schemeClr val="tx2"/>
              </a:buClr>
            </a:pPr>
            <a:r>
              <a:rPr lang="de-DE" dirty="0">
                <a:solidFill>
                  <a:srgbClr val="0A4E78"/>
                </a:solidFill>
                <a:sym typeface="Trebuchet MS" panose="020B0603020202020204" pitchFamily="34" charset="0"/>
              </a:rPr>
              <a:t>Für den Transport wird </a:t>
            </a:r>
            <a:r>
              <a:rPr lang="de-DE" u="sng" dirty="0">
                <a:solidFill>
                  <a:srgbClr val="0A4E78"/>
                </a:solidFill>
                <a:sym typeface="Trebuchet MS" panose="020B0603020202020204" pitchFamily="34" charset="0"/>
              </a:rPr>
              <a:t>keine</a:t>
            </a:r>
            <a:r>
              <a:rPr lang="de-DE" dirty="0">
                <a:solidFill>
                  <a:srgbClr val="0A4E78"/>
                </a:solidFill>
                <a:sym typeface="Trebuchet MS" panose="020B0603020202020204" pitchFamily="34" charset="0"/>
              </a:rPr>
              <a:t> gesonderte Schutzausrüstungen benötigt</a:t>
            </a:r>
          </a:p>
          <a:p>
            <a:pPr marL="134541" lvl="1" indent="-134541">
              <a:buClr>
                <a:schemeClr val="tx2"/>
              </a:buClr>
            </a:pPr>
            <a:endParaRPr lang="de-DE" dirty="0">
              <a:solidFill>
                <a:srgbClr val="0A4E78"/>
              </a:solidFill>
              <a:sym typeface="Trebuchet MS" panose="020B0603020202020204" pitchFamily="34" charset="0"/>
            </a:endParaRPr>
          </a:p>
          <a:p>
            <a:pPr marL="134541" lvl="1" indent="-134541">
              <a:buClr>
                <a:schemeClr val="tx2"/>
              </a:buClr>
            </a:pPr>
            <a:r>
              <a:rPr lang="de-DE" dirty="0">
                <a:solidFill>
                  <a:srgbClr val="0A4E78"/>
                </a:solidFill>
                <a:sym typeface="Trebuchet MS" panose="020B0603020202020204" pitchFamily="34" charset="0"/>
              </a:rPr>
              <a:t>Für den Transport wird </a:t>
            </a:r>
            <a:r>
              <a:rPr lang="de-DE" u="sng" dirty="0">
                <a:solidFill>
                  <a:srgbClr val="0A4E78"/>
                </a:solidFill>
                <a:sym typeface="Trebuchet MS" panose="020B0603020202020204" pitchFamily="34" charset="0"/>
              </a:rPr>
              <a:t>keine</a:t>
            </a:r>
            <a:r>
              <a:rPr lang="de-DE" dirty="0">
                <a:solidFill>
                  <a:srgbClr val="0A4E78"/>
                </a:solidFill>
                <a:sym typeface="Trebuchet MS" panose="020B0603020202020204" pitchFamily="34" charset="0"/>
              </a:rPr>
              <a:t> gesonderte Ausbildung benötigt</a:t>
            </a:r>
            <a:r>
              <a:rPr lang="de-DE" baseline="30000" dirty="0">
                <a:solidFill>
                  <a:srgbClr val="0A4E78"/>
                </a:solidFill>
                <a:sym typeface="Trebuchet MS" panose="020B0603020202020204" pitchFamily="34" charset="0"/>
              </a:rPr>
              <a:t>1</a:t>
            </a:r>
            <a:r>
              <a:rPr lang="de-DE" dirty="0">
                <a:solidFill>
                  <a:srgbClr val="0A4E78"/>
                </a:solidFill>
                <a:sym typeface="Trebuchet MS" panose="020B0603020202020204" pitchFamily="34" charset="0"/>
              </a:rPr>
              <a:t> </a:t>
            </a:r>
          </a:p>
        </p:txBody>
      </p:sp>
      <p:grpSp>
        <p:nvGrpSpPr>
          <p:cNvPr id="54" name="Group 53">
            <a:extLst>
              <a:ext uri="{FF2B5EF4-FFF2-40B4-BE49-F238E27FC236}">
                <a16:creationId xmlns:a16="http://schemas.microsoft.com/office/drawing/2014/main" id="{E85570EC-A380-4568-A08B-316A0F40FD57}"/>
              </a:ext>
            </a:extLst>
          </p:cNvPr>
          <p:cNvGrpSpPr/>
          <p:nvPr/>
        </p:nvGrpSpPr>
        <p:grpSpPr>
          <a:xfrm>
            <a:off x="4762176" y="1327417"/>
            <a:ext cx="610940" cy="610940"/>
            <a:chOff x="4050530" y="1327417"/>
            <a:chExt cx="610940" cy="610940"/>
          </a:xfrm>
        </p:grpSpPr>
        <p:sp>
          <p:nvSpPr>
            <p:cNvPr id="53" name="Oval 52">
              <a:extLst>
                <a:ext uri="{FF2B5EF4-FFF2-40B4-BE49-F238E27FC236}">
                  <a16:creationId xmlns:a16="http://schemas.microsoft.com/office/drawing/2014/main" id="{C66A95E9-4F7B-45D1-B216-FA287CA7C1F2}"/>
                </a:ext>
              </a:extLst>
            </p:cNvPr>
            <p:cNvSpPr/>
            <p:nvPr>
              <p:custDataLst>
                <p:tags r:id="rId4"/>
              </p:custDataLst>
            </p:nvPr>
          </p:nvSpPr>
          <p:spPr bwMode="auto">
            <a:xfrm>
              <a:off x="4050530" y="1327417"/>
              <a:ext cx="610940" cy="610940"/>
            </a:xfrm>
            <a:prstGeom prst="ellipse">
              <a:avLst/>
            </a:prstGeom>
            <a:solidFill>
              <a:srgbClr val="FFFFFF"/>
            </a:solidFill>
            <a:ln w="19050">
              <a:gradFill flip="none" rotWithShape="1">
                <a:gsLst>
                  <a:gs pos="0">
                    <a:srgbClr val="003B59"/>
                  </a:gs>
                  <a:gs pos="100000">
                    <a:srgbClr val="A8BCCF"/>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spcBef>
                  <a:spcPts val="0"/>
                </a:spcBef>
                <a:spcAft>
                  <a:spcPts val="0"/>
                </a:spcAft>
              </a:pPr>
              <a:endParaRPr lang="de-DE" sz="1600" kern="0" dirty="0">
                <a:solidFill>
                  <a:schemeClr val="bg1">
                    <a:lumMod val="50000"/>
                  </a:schemeClr>
                </a:solidFill>
                <a:latin typeface="+mn-lt"/>
                <a:cs typeface="+mn-cs"/>
              </a:endParaRPr>
            </a:p>
          </p:txBody>
        </p:sp>
        <p:grpSp>
          <p:nvGrpSpPr>
            <p:cNvPr id="48" name="Group 47">
              <a:extLst>
                <a:ext uri="{FF2B5EF4-FFF2-40B4-BE49-F238E27FC236}">
                  <a16:creationId xmlns:a16="http://schemas.microsoft.com/office/drawing/2014/main" id="{3E5374EF-03DF-433E-A42F-4BA352D1FECA}"/>
                </a:ext>
              </a:extLst>
            </p:cNvPr>
            <p:cNvGrpSpPr>
              <a:grpSpLocks noChangeAspect="1"/>
            </p:cNvGrpSpPr>
            <p:nvPr/>
          </p:nvGrpSpPr>
          <p:grpSpPr>
            <a:xfrm>
              <a:off x="4140000" y="1416887"/>
              <a:ext cx="432000" cy="432000"/>
              <a:chOff x="5273675" y="2606675"/>
              <a:chExt cx="1644650" cy="1644650"/>
            </a:xfrm>
          </p:grpSpPr>
          <p:sp>
            <p:nvSpPr>
              <p:cNvPr id="49" name="AutoShape 20">
                <a:extLst>
                  <a:ext uri="{FF2B5EF4-FFF2-40B4-BE49-F238E27FC236}">
                    <a16:creationId xmlns:a16="http://schemas.microsoft.com/office/drawing/2014/main" id="{407B78AC-2466-497D-B79B-9E6B2BA7598A}"/>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50" name="Group 49">
                <a:extLst>
                  <a:ext uri="{FF2B5EF4-FFF2-40B4-BE49-F238E27FC236}">
                    <a16:creationId xmlns:a16="http://schemas.microsoft.com/office/drawing/2014/main" id="{B9EDFE0D-9167-4420-9014-FF8BD76CC0CF}"/>
                  </a:ext>
                </a:extLst>
              </p:cNvPr>
              <p:cNvGrpSpPr/>
              <p:nvPr/>
            </p:nvGrpSpPr>
            <p:grpSpPr>
              <a:xfrm>
                <a:off x="5418137" y="2805112"/>
                <a:ext cx="1357312" cy="1247776"/>
                <a:chOff x="5418137" y="2805112"/>
                <a:chExt cx="1357312" cy="1247776"/>
              </a:xfrm>
            </p:grpSpPr>
            <p:sp>
              <p:nvSpPr>
                <p:cNvPr id="51" name="Freeform 45">
                  <a:extLst>
                    <a:ext uri="{FF2B5EF4-FFF2-40B4-BE49-F238E27FC236}">
                      <a16:creationId xmlns:a16="http://schemas.microsoft.com/office/drawing/2014/main" id="{5DD34133-AE0E-4A3C-8DF8-91F20BA12974}"/>
                    </a:ext>
                  </a:extLst>
                </p:cNvPr>
                <p:cNvSpPr>
                  <a:spLocks/>
                </p:cNvSpPr>
                <p:nvPr/>
              </p:nvSpPr>
              <p:spPr bwMode="auto">
                <a:xfrm>
                  <a:off x="5418137" y="3330575"/>
                  <a:ext cx="1357312" cy="722313"/>
                </a:xfrm>
                <a:custGeom>
                  <a:avLst/>
                  <a:gdLst>
                    <a:gd name="connsiteX0" fmla="*/ 1116807 w 1357312"/>
                    <a:gd name="connsiteY0" fmla="*/ 552450 h 722313"/>
                    <a:gd name="connsiteX1" fmla="*/ 1047750 w 1357312"/>
                    <a:gd name="connsiteY1" fmla="*/ 621507 h 722313"/>
                    <a:gd name="connsiteX2" fmla="*/ 1119654 w 1357312"/>
                    <a:gd name="connsiteY2" fmla="*/ 690563 h 722313"/>
                    <a:gd name="connsiteX3" fmla="*/ 1185863 w 1357312"/>
                    <a:gd name="connsiteY3" fmla="*/ 621507 h 722313"/>
                    <a:gd name="connsiteX4" fmla="*/ 1116807 w 1357312"/>
                    <a:gd name="connsiteY4" fmla="*/ 552450 h 722313"/>
                    <a:gd name="connsiteX5" fmla="*/ 186532 w 1357312"/>
                    <a:gd name="connsiteY5" fmla="*/ 552450 h 722313"/>
                    <a:gd name="connsiteX6" fmla="*/ 117475 w 1357312"/>
                    <a:gd name="connsiteY6" fmla="*/ 621507 h 722313"/>
                    <a:gd name="connsiteX7" fmla="*/ 189379 w 1357312"/>
                    <a:gd name="connsiteY7" fmla="*/ 690563 h 722313"/>
                    <a:gd name="connsiteX8" fmla="*/ 255588 w 1357312"/>
                    <a:gd name="connsiteY8" fmla="*/ 621507 h 722313"/>
                    <a:gd name="connsiteX9" fmla="*/ 186532 w 1357312"/>
                    <a:gd name="connsiteY9" fmla="*/ 552450 h 722313"/>
                    <a:gd name="connsiteX10" fmla="*/ 1116807 w 1357312"/>
                    <a:gd name="connsiteY10" fmla="*/ 520700 h 722313"/>
                    <a:gd name="connsiteX11" fmla="*/ 1217613 w 1357312"/>
                    <a:gd name="connsiteY11" fmla="*/ 621507 h 722313"/>
                    <a:gd name="connsiteX12" fmla="*/ 1119667 w 1357312"/>
                    <a:gd name="connsiteY12" fmla="*/ 722313 h 722313"/>
                    <a:gd name="connsiteX13" fmla="*/ 1016000 w 1357312"/>
                    <a:gd name="connsiteY13" fmla="*/ 621507 h 722313"/>
                    <a:gd name="connsiteX14" fmla="*/ 1116807 w 1357312"/>
                    <a:gd name="connsiteY14" fmla="*/ 520700 h 722313"/>
                    <a:gd name="connsiteX15" fmla="*/ 186532 w 1357312"/>
                    <a:gd name="connsiteY15" fmla="*/ 520700 h 722313"/>
                    <a:gd name="connsiteX16" fmla="*/ 287338 w 1357312"/>
                    <a:gd name="connsiteY16" fmla="*/ 621507 h 722313"/>
                    <a:gd name="connsiteX17" fmla="*/ 189392 w 1357312"/>
                    <a:gd name="connsiteY17" fmla="*/ 722313 h 722313"/>
                    <a:gd name="connsiteX18" fmla="*/ 85725 w 1357312"/>
                    <a:gd name="connsiteY18" fmla="*/ 621507 h 722313"/>
                    <a:gd name="connsiteX19" fmla="*/ 186532 w 1357312"/>
                    <a:gd name="connsiteY19" fmla="*/ 520700 h 722313"/>
                    <a:gd name="connsiteX20" fmla="*/ 0 w 1357312"/>
                    <a:gd name="connsiteY20" fmla="*/ 354013 h 722313"/>
                    <a:gd name="connsiteX21" fmla="*/ 241758 w 1357312"/>
                    <a:gd name="connsiteY21" fmla="*/ 354013 h 722313"/>
                    <a:gd name="connsiteX22" fmla="*/ 506336 w 1357312"/>
                    <a:gd name="connsiteY22" fmla="*/ 354013 h 722313"/>
                    <a:gd name="connsiteX23" fmla="*/ 556970 w 1357312"/>
                    <a:gd name="connsiteY23" fmla="*/ 354013 h 722313"/>
                    <a:gd name="connsiteX24" fmla="*/ 773055 w 1357312"/>
                    <a:gd name="connsiteY24" fmla="*/ 354013 h 722313"/>
                    <a:gd name="connsiteX25" fmla="*/ 875035 w 1357312"/>
                    <a:gd name="connsiteY25" fmla="*/ 354013 h 722313"/>
                    <a:gd name="connsiteX26" fmla="*/ 877888 w 1357312"/>
                    <a:gd name="connsiteY26" fmla="*/ 354013 h 722313"/>
                    <a:gd name="connsiteX27" fmla="*/ 877888 w 1357312"/>
                    <a:gd name="connsiteY27" fmla="*/ 587376 h 722313"/>
                    <a:gd name="connsiteX28" fmla="*/ 875035 w 1357312"/>
                    <a:gd name="connsiteY28" fmla="*/ 587376 h 722313"/>
                    <a:gd name="connsiteX29" fmla="*/ 314499 w 1357312"/>
                    <a:gd name="connsiteY29" fmla="*/ 587376 h 722313"/>
                    <a:gd name="connsiteX30" fmla="*/ 186845 w 1357312"/>
                    <a:gd name="connsiteY30" fmla="*/ 488179 h 722313"/>
                    <a:gd name="connsiteX31" fmla="*/ 59191 w 1357312"/>
                    <a:gd name="connsiteY31" fmla="*/ 587376 h 722313"/>
                    <a:gd name="connsiteX32" fmla="*/ 0 w 1357312"/>
                    <a:gd name="connsiteY32" fmla="*/ 587376 h 722313"/>
                    <a:gd name="connsiteX33" fmla="*/ 0 w 1357312"/>
                    <a:gd name="connsiteY33" fmla="*/ 354013 h 722313"/>
                    <a:gd name="connsiteX34" fmla="*/ 929248 w 1357312"/>
                    <a:gd name="connsiteY34" fmla="*/ 112713 h 722313"/>
                    <a:gd name="connsiteX35" fmla="*/ 1195091 w 1357312"/>
                    <a:gd name="connsiteY35" fmla="*/ 112713 h 722313"/>
                    <a:gd name="connsiteX36" fmla="*/ 1208669 w 1357312"/>
                    <a:gd name="connsiteY36" fmla="*/ 119829 h 722313"/>
                    <a:gd name="connsiteX37" fmla="*/ 1355168 w 1357312"/>
                    <a:gd name="connsiteY37" fmla="*/ 340437 h 722313"/>
                    <a:gd name="connsiteX38" fmla="*/ 1357312 w 1357312"/>
                    <a:gd name="connsiteY38" fmla="*/ 348977 h 722313"/>
                    <a:gd name="connsiteX39" fmla="*/ 1357312 w 1357312"/>
                    <a:gd name="connsiteY39" fmla="*/ 571720 h 722313"/>
                    <a:gd name="connsiteX40" fmla="*/ 1341590 w 1357312"/>
                    <a:gd name="connsiteY40" fmla="*/ 587376 h 722313"/>
                    <a:gd name="connsiteX41" fmla="*/ 1242257 w 1357312"/>
                    <a:gd name="connsiteY41" fmla="*/ 587376 h 722313"/>
                    <a:gd name="connsiteX42" fmla="*/ 1229393 w 1357312"/>
                    <a:gd name="connsiteY42" fmla="*/ 556064 h 722313"/>
                    <a:gd name="connsiteX43" fmla="*/ 1325869 w 1357312"/>
                    <a:gd name="connsiteY43" fmla="*/ 556064 h 722313"/>
                    <a:gd name="connsiteX44" fmla="*/ 1325869 w 1357312"/>
                    <a:gd name="connsiteY44" fmla="*/ 353247 h 722313"/>
                    <a:gd name="connsiteX45" fmla="*/ 1187230 w 1357312"/>
                    <a:gd name="connsiteY45" fmla="*/ 144025 h 722313"/>
                    <a:gd name="connsiteX46" fmla="*/ 944255 w 1357312"/>
                    <a:gd name="connsiteY46" fmla="*/ 144025 h 722313"/>
                    <a:gd name="connsiteX47" fmla="*/ 944255 w 1357312"/>
                    <a:gd name="connsiteY47" fmla="*/ 556064 h 722313"/>
                    <a:gd name="connsiteX48" fmla="*/ 1002141 w 1357312"/>
                    <a:gd name="connsiteY48" fmla="*/ 556064 h 722313"/>
                    <a:gd name="connsiteX49" fmla="*/ 989277 w 1357312"/>
                    <a:gd name="connsiteY49" fmla="*/ 587376 h 722313"/>
                    <a:gd name="connsiteX50" fmla="*/ 928534 w 1357312"/>
                    <a:gd name="connsiteY50" fmla="*/ 587376 h 722313"/>
                    <a:gd name="connsiteX51" fmla="*/ 912812 w 1357312"/>
                    <a:gd name="connsiteY51" fmla="*/ 571720 h 722313"/>
                    <a:gd name="connsiteX52" fmla="*/ 912812 w 1357312"/>
                    <a:gd name="connsiteY52" fmla="*/ 128369 h 722313"/>
                    <a:gd name="connsiteX53" fmla="*/ 929248 w 1357312"/>
                    <a:gd name="connsiteY53" fmla="*/ 112713 h 722313"/>
                    <a:gd name="connsiteX54" fmla="*/ 348417 w 1357312"/>
                    <a:gd name="connsiteY54" fmla="*/ 63500 h 722313"/>
                    <a:gd name="connsiteX55" fmla="*/ 400882 w 1357312"/>
                    <a:gd name="connsiteY55" fmla="*/ 63500 h 722313"/>
                    <a:gd name="connsiteX56" fmla="*/ 447675 w 1357312"/>
                    <a:gd name="connsiteY56" fmla="*/ 111125 h 722313"/>
                    <a:gd name="connsiteX57" fmla="*/ 447675 w 1357312"/>
                    <a:gd name="connsiteY57" fmla="*/ 127000 h 722313"/>
                    <a:gd name="connsiteX58" fmla="*/ 416480 w 1357312"/>
                    <a:gd name="connsiteY58" fmla="*/ 127000 h 722313"/>
                    <a:gd name="connsiteX59" fmla="*/ 416480 w 1357312"/>
                    <a:gd name="connsiteY59" fmla="*/ 111125 h 722313"/>
                    <a:gd name="connsiteX60" fmla="*/ 400882 w 1357312"/>
                    <a:gd name="connsiteY60" fmla="*/ 95250 h 722313"/>
                    <a:gd name="connsiteX61" fmla="*/ 348417 w 1357312"/>
                    <a:gd name="connsiteY61" fmla="*/ 95250 h 722313"/>
                    <a:gd name="connsiteX62" fmla="*/ 332820 w 1357312"/>
                    <a:gd name="connsiteY62" fmla="*/ 111125 h 722313"/>
                    <a:gd name="connsiteX63" fmla="*/ 332820 w 1357312"/>
                    <a:gd name="connsiteY63" fmla="*/ 127000 h 722313"/>
                    <a:gd name="connsiteX64" fmla="*/ 301625 w 1357312"/>
                    <a:gd name="connsiteY64" fmla="*/ 127000 h 722313"/>
                    <a:gd name="connsiteX65" fmla="*/ 301625 w 1357312"/>
                    <a:gd name="connsiteY65" fmla="*/ 111125 h 722313"/>
                    <a:gd name="connsiteX66" fmla="*/ 348417 w 1357312"/>
                    <a:gd name="connsiteY66" fmla="*/ 63500 h 722313"/>
                    <a:gd name="connsiteX67" fmla="*/ 639438 w 1357312"/>
                    <a:gd name="connsiteY67" fmla="*/ 0 h 722313"/>
                    <a:gd name="connsiteX68" fmla="*/ 692473 w 1357312"/>
                    <a:gd name="connsiteY68" fmla="*/ 0 h 722313"/>
                    <a:gd name="connsiteX69" fmla="*/ 739775 w 1357312"/>
                    <a:gd name="connsiteY69" fmla="*/ 46840 h 722313"/>
                    <a:gd name="connsiteX70" fmla="*/ 739775 w 1357312"/>
                    <a:gd name="connsiteY70" fmla="*/ 60325 h 722313"/>
                    <a:gd name="connsiteX71" fmla="*/ 708240 w 1357312"/>
                    <a:gd name="connsiteY71" fmla="*/ 60325 h 722313"/>
                    <a:gd name="connsiteX72" fmla="*/ 708240 w 1357312"/>
                    <a:gd name="connsiteY72" fmla="*/ 46840 h 722313"/>
                    <a:gd name="connsiteX73" fmla="*/ 692473 w 1357312"/>
                    <a:gd name="connsiteY73" fmla="*/ 31227 h 722313"/>
                    <a:gd name="connsiteX74" fmla="*/ 639438 w 1357312"/>
                    <a:gd name="connsiteY74" fmla="*/ 31227 h 722313"/>
                    <a:gd name="connsiteX75" fmla="*/ 623671 w 1357312"/>
                    <a:gd name="connsiteY75" fmla="*/ 46840 h 722313"/>
                    <a:gd name="connsiteX76" fmla="*/ 623671 w 1357312"/>
                    <a:gd name="connsiteY76" fmla="*/ 60325 h 722313"/>
                    <a:gd name="connsiteX77" fmla="*/ 592137 w 1357312"/>
                    <a:gd name="connsiteY77" fmla="*/ 60325 h 722313"/>
                    <a:gd name="connsiteX78" fmla="*/ 592137 w 1357312"/>
                    <a:gd name="connsiteY78" fmla="*/ 46840 h 722313"/>
                    <a:gd name="connsiteX79" fmla="*/ 639438 w 1357312"/>
                    <a:gd name="connsiteY79" fmla="*/ 0 h 722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1357312" h="722313">
                      <a:moveTo>
                        <a:pt x="1116807" y="552450"/>
                      </a:moveTo>
                      <a:cubicBezTo>
                        <a:pt x="1079075" y="552450"/>
                        <a:pt x="1047750" y="583775"/>
                        <a:pt x="1047750" y="621507"/>
                      </a:cubicBezTo>
                      <a:cubicBezTo>
                        <a:pt x="1047750" y="659239"/>
                        <a:pt x="1080499" y="690563"/>
                        <a:pt x="1119654" y="690563"/>
                      </a:cubicBezTo>
                      <a:cubicBezTo>
                        <a:pt x="1156674" y="690563"/>
                        <a:pt x="1185863" y="660662"/>
                        <a:pt x="1185863" y="621507"/>
                      </a:cubicBezTo>
                      <a:cubicBezTo>
                        <a:pt x="1185863" y="583775"/>
                        <a:pt x="1155251" y="552450"/>
                        <a:pt x="1116807" y="552450"/>
                      </a:cubicBezTo>
                      <a:close/>
                      <a:moveTo>
                        <a:pt x="186532" y="552450"/>
                      </a:moveTo>
                      <a:cubicBezTo>
                        <a:pt x="148088" y="552450"/>
                        <a:pt x="117475" y="583775"/>
                        <a:pt x="117475" y="621507"/>
                      </a:cubicBezTo>
                      <a:cubicBezTo>
                        <a:pt x="117475" y="659239"/>
                        <a:pt x="150224" y="690563"/>
                        <a:pt x="189379" y="690563"/>
                      </a:cubicBezTo>
                      <a:cubicBezTo>
                        <a:pt x="226399" y="690563"/>
                        <a:pt x="255588" y="660662"/>
                        <a:pt x="255588" y="621507"/>
                      </a:cubicBezTo>
                      <a:cubicBezTo>
                        <a:pt x="255588" y="583775"/>
                        <a:pt x="224264" y="552450"/>
                        <a:pt x="186532" y="552450"/>
                      </a:cubicBezTo>
                      <a:close/>
                      <a:moveTo>
                        <a:pt x="1116807" y="520700"/>
                      </a:moveTo>
                      <a:cubicBezTo>
                        <a:pt x="1172572" y="520700"/>
                        <a:pt x="1217613" y="566456"/>
                        <a:pt x="1217613" y="621507"/>
                      </a:cubicBezTo>
                      <a:cubicBezTo>
                        <a:pt x="1217613" y="677272"/>
                        <a:pt x="1175432" y="722313"/>
                        <a:pt x="1119667" y="722313"/>
                      </a:cubicBezTo>
                      <a:cubicBezTo>
                        <a:pt x="1064616" y="722313"/>
                        <a:pt x="1016000" y="677272"/>
                        <a:pt x="1016000" y="621507"/>
                      </a:cubicBezTo>
                      <a:cubicBezTo>
                        <a:pt x="1016000" y="566456"/>
                        <a:pt x="1061041" y="520700"/>
                        <a:pt x="1116807" y="520700"/>
                      </a:cubicBezTo>
                      <a:close/>
                      <a:moveTo>
                        <a:pt x="186532" y="520700"/>
                      </a:moveTo>
                      <a:cubicBezTo>
                        <a:pt x="242297" y="520700"/>
                        <a:pt x="287338" y="566456"/>
                        <a:pt x="287338" y="621507"/>
                      </a:cubicBezTo>
                      <a:cubicBezTo>
                        <a:pt x="287338" y="677272"/>
                        <a:pt x="245157" y="722313"/>
                        <a:pt x="189392" y="722313"/>
                      </a:cubicBezTo>
                      <a:cubicBezTo>
                        <a:pt x="134341" y="722313"/>
                        <a:pt x="85725" y="677272"/>
                        <a:pt x="85725" y="621507"/>
                      </a:cubicBezTo>
                      <a:cubicBezTo>
                        <a:pt x="85725" y="566456"/>
                        <a:pt x="130766" y="520700"/>
                        <a:pt x="186532" y="520700"/>
                      </a:cubicBezTo>
                      <a:close/>
                      <a:moveTo>
                        <a:pt x="0" y="354013"/>
                      </a:moveTo>
                      <a:cubicBezTo>
                        <a:pt x="0" y="354013"/>
                        <a:pt x="0" y="354013"/>
                        <a:pt x="241758" y="354013"/>
                      </a:cubicBezTo>
                      <a:cubicBezTo>
                        <a:pt x="241758" y="354013"/>
                        <a:pt x="241758" y="354013"/>
                        <a:pt x="506336" y="354013"/>
                      </a:cubicBezTo>
                      <a:cubicBezTo>
                        <a:pt x="506336" y="354013"/>
                        <a:pt x="506336" y="354013"/>
                        <a:pt x="556970" y="354013"/>
                      </a:cubicBezTo>
                      <a:cubicBezTo>
                        <a:pt x="556970" y="354013"/>
                        <a:pt x="556970" y="354013"/>
                        <a:pt x="773055" y="354013"/>
                      </a:cubicBezTo>
                      <a:lnTo>
                        <a:pt x="875035" y="354013"/>
                      </a:lnTo>
                      <a:cubicBezTo>
                        <a:pt x="875748" y="354013"/>
                        <a:pt x="876461" y="354013"/>
                        <a:pt x="877888" y="354013"/>
                      </a:cubicBezTo>
                      <a:cubicBezTo>
                        <a:pt x="877888" y="354013"/>
                        <a:pt x="877888" y="354013"/>
                        <a:pt x="877888" y="587376"/>
                      </a:cubicBezTo>
                      <a:cubicBezTo>
                        <a:pt x="876461" y="587376"/>
                        <a:pt x="875748" y="587376"/>
                        <a:pt x="875035" y="587376"/>
                      </a:cubicBezTo>
                      <a:cubicBezTo>
                        <a:pt x="875035" y="587376"/>
                        <a:pt x="875035" y="587376"/>
                        <a:pt x="314499" y="587376"/>
                      </a:cubicBezTo>
                      <a:cubicBezTo>
                        <a:pt x="300236" y="530284"/>
                        <a:pt x="248176" y="488179"/>
                        <a:pt x="186845" y="488179"/>
                      </a:cubicBezTo>
                      <a:cubicBezTo>
                        <a:pt x="125514" y="488179"/>
                        <a:pt x="73454" y="530284"/>
                        <a:pt x="59191" y="587376"/>
                      </a:cubicBezTo>
                      <a:cubicBezTo>
                        <a:pt x="59191" y="587376"/>
                        <a:pt x="59191" y="587376"/>
                        <a:pt x="0" y="587376"/>
                      </a:cubicBezTo>
                      <a:cubicBezTo>
                        <a:pt x="0" y="587376"/>
                        <a:pt x="0" y="587376"/>
                        <a:pt x="0" y="354013"/>
                      </a:cubicBezTo>
                      <a:close/>
                      <a:moveTo>
                        <a:pt x="929248" y="112713"/>
                      </a:moveTo>
                      <a:cubicBezTo>
                        <a:pt x="929248" y="112713"/>
                        <a:pt x="929248" y="112713"/>
                        <a:pt x="1195091" y="112713"/>
                      </a:cubicBezTo>
                      <a:cubicBezTo>
                        <a:pt x="1200808" y="112713"/>
                        <a:pt x="1205811" y="115559"/>
                        <a:pt x="1208669" y="119829"/>
                      </a:cubicBezTo>
                      <a:cubicBezTo>
                        <a:pt x="1208669" y="119829"/>
                        <a:pt x="1208669" y="119829"/>
                        <a:pt x="1355168" y="340437"/>
                      </a:cubicBezTo>
                      <a:cubicBezTo>
                        <a:pt x="1356598" y="342572"/>
                        <a:pt x="1357312" y="345419"/>
                        <a:pt x="1357312" y="348977"/>
                      </a:cubicBezTo>
                      <a:cubicBezTo>
                        <a:pt x="1357312" y="348977"/>
                        <a:pt x="1357312" y="348977"/>
                        <a:pt x="1357312" y="571720"/>
                      </a:cubicBezTo>
                      <a:cubicBezTo>
                        <a:pt x="1357312" y="580260"/>
                        <a:pt x="1350166" y="587376"/>
                        <a:pt x="1341590" y="587376"/>
                      </a:cubicBezTo>
                      <a:cubicBezTo>
                        <a:pt x="1341590" y="587376"/>
                        <a:pt x="1341590" y="587376"/>
                        <a:pt x="1242257" y="587376"/>
                      </a:cubicBezTo>
                      <a:cubicBezTo>
                        <a:pt x="1239398" y="576702"/>
                        <a:pt x="1235110" y="566027"/>
                        <a:pt x="1229393" y="556064"/>
                      </a:cubicBezTo>
                      <a:cubicBezTo>
                        <a:pt x="1229393" y="556064"/>
                        <a:pt x="1229393" y="556064"/>
                        <a:pt x="1325869" y="556064"/>
                      </a:cubicBezTo>
                      <a:cubicBezTo>
                        <a:pt x="1325869" y="556064"/>
                        <a:pt x="1325869" y="556064"/>
                        <a:pt x="1325869" y="353247"/>
                      </a:cubicBezTo>
                      <a:cubicBezTo>
                        <a:pt x="1325869" y="353247"/>
                        <a:pt x="1325869" y="353247"/>
                        <a:pt x="1187230" y="144025"/>
                      </a:cubicBezTo>
                      <a:cubicBezTo>
                        <a:pt x="1187230" y="144025"/>
                        <a:pt x="1187230" y="144025"/>
                        <a:pt x="944255" y="144025"/>
                      </a:cubicBezTo>
                      <a:cubicBezTo>
                        <a:pt x="944255" y="144025"/>
                        <a:pt x="944255" y="144025"/>
                        <a:pt x="944255" y="556064"/>
                      </a:cubicBezTo>
                      <a:cubicBezTo>
                        <a:pt x="944255" y="556064"/>
                        <a:pt x="944255" y="556064"/>
                        <a:pt x="1002141" y="556064"/>
                      </a:cubicBezTo>
                      <a:cubicBezTo>
                        <a:pt x="997138" y="566027"/>
                        <a:pt x="992136" y="576702"/>
                        <a:pt x="989277" y="587376"/>
                      </a:cubicBezTo>
                      <a:cubicBezTo>
                        <a:pt x="989277" y="587376"/>
                        <a:pt x="989277" y="587376"/>
                        <a:pt x="928534" y="587376"/>
                      </a:cubicBezTo>
                      <a:cubicBezTo>
                        <a:pt x="919958" y="587376"/>
                        <a:pt x="912812" y="580260"/>
                        <a:pt x="912812" y="571720"/>
                      </a:cubicBezTo>
                      <a:cubicBezTo>
                        <a:pt x="912812" y="571720"/>
                        <a:pt x="912812" y="571720"/>
                        <a:pt x="912812" y="128369"/>
                      </a:cubicBezTo>
                      <a:cubicBezTo>
                        <a:pt x="912812" y="119829"/>
                        <a:pt x="919958" y="112713"/>
                        <a:pt x="929248" y="112713"/>
                      </a:cubicBezTo>
                      <a:close/>
                      <a:moveTo>
                        <a:pt x="348417" y="63500"/>
                      </a:moveTo>
                      <a:cubicBezTo>
                        <a:pt x="348417" y="63500"/>
                        <a:pt x="348417" y="63500"/>
                        <a:pt x="400882" y="63500"/>
                      </a:cubicBezTo>
                      <a:cubicBezTo>
                        <a:pt x="426405" y="63500"/>
                        <a:pt x="447675" y="85148"/>
                        <a:pt x="447675" y="111125"/>
                      </a:cubicBezTo>
                      <a:cubicBezTo>
                        <a:pt x="447675" y="111125"/>
                        <a:pt x="447675" y="111125"/>
                        <a:pt x="447675" y="127000"/>
                      </a:cubicBezTo>
                      <a:cubicBezTo>
                        <a:pt x="447675" y="127000"/>
                        <a:pt x="447675" y="127000"/>
                        <a:pt x="416480" y="127000"/>
                      </a:cubicBezTo>
                      <a:cubicBezTo>
                        <a:pt x="416480" y="127000"/>
                        <a:pt x="416480" y="127000"/>
                        <a:pt x="416480" y="111125"/>
                      </a:cubicBezTo>
                      <a:cubicBezTo>
                        <a:pt x="416480" y="102466"/>
                        <a:pt x="409390" y="95250"/>
                        <a:pt x="400882" y="95250"/>
                      </a:cubicBezTo>
                      <a:cubicBezTo>
                        <a:pt x="400882" y="95250"/>
                        <a:pt x="400882" y="95250"/>
                        <a:pt x="348417" y="95250"/>
                      </a:cubicBezTo>
                      <a:cubicBezTo>
                        <a:pt x="339201" y="95250"/>
                        <a:pt x="332820" y="102466"/>
                        <a:pt x="332820" y="111125"/>
                      </a:cubicBezTo>
                      <a:lnTo>
                        <a:pt x="332820" y="127000"/>
                      </a:lnTo>
                      <a:cubicBezTo>
                        <a:pt x="332820" y="127000"/>
                        <a:pt x="332820" y="127000"/>
                        <a:pt x="301625" y="127000"/>
                      </a:cubicBezTo>
                      <a:cubicBezTo>
                        <a:pt x="301625" y="127000"/>
                        <a:pt x="301625" y="127000"/>
                        <a:pt x="301625" y="111125"/>
                      </a:cubicBezTo>
                      <a:cubicBezTo>
                        <a:pt x="301625" y="85148"/>
                        <a:pt x="322185" y="63500"/>
                        <a:pt x="348417" y="63500"/>
                      </a:cubicBezTo>
                      <a:close/>
                      <a:moveTo>
                        <a:pt x="639438" y="0"/>
                      </a:moveTo>
                      <a:cubicBezTo>
                        <a:pt x="639438" y="0"/>
                        <a:pt x="639438" y="0"/>
                        <a:pt x="692473" y="0"/>
                      </a:cubicBezTo>
                      <a:cubicBezTo>
                        <a:pt x="718274" y="0"/>
                        <a:pt x="739775" y="20581"/>
                        <a:pt x="739775" y="46840"/>
                      </a:cubicBezTo>
                      <a:cubicBezTo>
                        <a:pt x="739775" y="46840"/>
                        <a:pt x="739775" y="46840"/>
                        <a:pt x="739775" y="60325"/>
                      </a:cubicBezTo>
                      <a:cubicBezTo>
                        <a:pt x="739775" y="60325"/>
                        <a:pt x="739775" y="60325"/>
                        <a:pt x="708240" y="60325"/>
                      </a:cubicBezTo>
                      <a:cubicBezTo>
                        <a:pt x="708240" y="60325"/>
                        <a:pt x="708240" y="60325"/>
                        <a:pt x="708240" y="46840"/>
                      </a:cubicBezTo>
                      <a:cubicBezTo>
                        <a:pt x="708240" y="37614"/>
                        <a:pt x="701074" y="31227"/>
                        <a:pt x="692473" y="31227"/>
                      </a:cubicBezTo>
                      <a:cubicBezTo>
                        <a:pt x="692473" y="31227"/>
                        <a:pt x="692473" y="31227"/>
                        <a:pt x="639438" y="31227"/>
                      </a:cubicBezTo>
                      <a:cubicBezTo>
                        <a:pt x="630838" y="31227"/>
                        <a:pt x="623671" y="37614"/>
                        <a:pt x="623671" y="46840"/>
                      </a:cubicBezTo>
                      <a:lnTo>
                        <a:pt x="623671" y="60325"/>
                      </a:lnTo>
                      <a:cubicBezTo>
                        <a:pt x="623671" y="60325"/>
                        <a:pt x="623671" y="60325"/>
                        <a:pt x="592137" y="60325"/>
                      </a:cubicBezTo>
                      <a:cubicBezTo>
                        <a:pt x="592137" y="60325"/>
                        <a:pt x="592137" y="60325"/>
                        <a:pt x="592137" y="46840"/>
                      </a:cubicBezTo>
                      <a:cubicBezTo>
                        <a:pt x="592137" y="20581"/>
                        <a:pt x="612921" y="0"/>
                        <a:pt x="639438" y="0"/>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sp>
              <p:nvSpPr>
                <p:cNvPr id="52" name="Freeform 42">
                  <a:extLst>
                    <a:ext uri="{FF2B5EF4-FFF2-40B4-BE49-F238E27FC236}">
                      <a16:creationId xmlns:a16="http://schemas.microsoft.com/office/drawing/2014/main" id="{DADE0A4A-31FC-44B7-99EB-FE8F062BD9FB}"/>
                    </a:ext>
                  </a:extLst>
                </p:cNvPr>
                <p:cNvSpPr>
                  <a:spLocks/>
                </p:cNvSpPr>
                <p:nvPr/>
              </p:nvSpPr>
              <p:spPr bwMode="auto">
                <a:xfrm>
                  <a:off x="5491163" y="2805112"/>
                  <a:ext cx="1185863" cy="1184276"/>
                </a:xfrm>
                <a:custGeom>
                  <a:avLst/>
                  <a:gdLst>
                    <a:gd name="connsiteX0" fmla="*/ 1043782 w 1185863"/>
                    <a:gd name="connsiteY0" fmla="*/ 1111250 h 1184276"/>
                    <a:gd name="connsiteX1" fmla="*/ 1081089 w 1185863"/>
                    <a:gd name="connsiteY1" fmla="*/ 1147763 h 1184276"/>
                    <a:gd name="connsiteX2" fmla="*/ 1043782 w 1185863"/>
                    <a:gd name="connsiteY2" fmla="*/ 1184276 h 1184276"/>
                    <a:gd name="connsiteX3" fmla="*/ 1006475 w 1185863"/>
                    <a:gd name="connsiteY3" fmla="*/ 1147763 h 1184276"/>
                    <a:gd name="connsiteX4" fmla="*/ 1043782 w 1185863"/>
                    <a:gd name="connsiteY4" fmla="*/ 1111250 h 1184276"/>
                    <a:gd name="connsiteX5" fmla="*/ 113507 w 1185863"/>
                    <a:gd name="connsiteY5" fmla="*/ 1111250 h 1184276"/>
                    <a:gd name="connsiteX6" fmla="*/ 150814 w 1185863"/>
                    <a:gd name="connsiteY6" fmla="*/ 1147763 h 1184276"/>
                    <a:gd name="connsiteX7" fmla="*/ 113507 w 1185863"/>
                    <a:gd name="connsiteY7" fmla="*/ 1184276 h 1184276"/>
                    <a:gd name="connsiteX8" fmla="*/ 76200 w 1185863"/>
                    <a:gd name="connsiteY8" fmla="*/ 1147763 h 1184276"/>
                    <a:gd name="connsiteX9" fmla="*/ 113507 w 1185863"/>
                    <a:gd name="connsiteY9" fmla="*/ 1111250 h 1184276"/>
                    <a:gd name="connsiteX10" fmla="*/ 946933 w 1185863"/>
                    <a:gd name="connsiteY10" fmla="*/ 700087 h 1184276"/>
                    <a:gd name="connsiteX11" fmla="*/ 1091717 w 1185863"/>
                    <a:gd name="connsiteY11" fmla="*/ 700087 h 1184276"/>
                    <a:gd name="connsiteX12" fmla="*/ 1105982 w 1185863"/>
                    <a:gd name="connsiteY12" fmla="*/ 712984 h 1184276"/>
                    <a:gd name="connsiteX13" fmla="*/ 1185150 w 1185863"/>
                    <a:gd name="connsiteY13" fmla="*/ 847682 h 1184276"/>
                    <a:gd name="connsiteX14" fmla="*/ 1185863 w 1185863"/>
                    <a:gd name="connsiteY14" fmla="*/ 851265 h 1184276"/>
                    <a:gd name="connsiteX15" fmla="*/ 1173025 w 1185863"/>
                    <a:gd name="connsiteY15" fmla="*/ 862012 h 1184276"/>
                    <a:gd name="connsiteX16" fmla="*/ 946933 w 1185863"/>
                    <a:gd name="connsiteY16" fmla="*/ 862012 h 1184276"/>
                    <a:gd name="connsiteX17" fmla="*/ 939800 w 1185863"/>
                    <a:gd name="connsiteY17" fmla="*/ 854847 h 1184276"/>
                    <a:gd name="connsiteX18" fmla="*/ 939800 w 1185863"/>
                    <a:gd name="connsiteY18" fmla="*/ 707252 h 1184276"/>
                    <a:gd name="connsiteX19" fmla="*/ 946933 w 1185863"/>
                    <a:gd name="connsiteY19" fmla="*/ 700087 h 1184276"/>
                    <a:gd name="connsiteX20" fmla="*/ 174636 w 1185863"/>
                    <a:gd name="connsiteY20" fmla="*/ 684212 h 1184276"/>
                    <a:gd name="connsiteX21" fmla="*/ 231120 w 1185863"/>
                    <a:gd name="connsiteY21" fmla="*/ 684212 h 1184276"/>
                    <a:gd name="connsiteX22" fmla="*/ 370542 w 1185863"/>
                    <a:gd name="connsiteY22" fmla="*/ 684212 h 1184276"/>
                    <a:gd name="connsiteX23" fmla="*/ 427025 w 1185863"/>
                    <a:gd name="connsiteY23" fmla="*/ 684212 h 1184276"/>
                    <a:gd name="connsiteX24" fmla="*/ 441325 w 1185863"/>
                    <a:gd name="connsiteY24" fmla="*/ 698445 h 1184276"/>
                    <a:gd name="connsiteX25" fmla="*/ 441325 w 1185863"/>
                    <a:gd name="connsiteY25" fmla="*/ 835079 h 1184276"/>
                    <a:gd name="connsiteX26" fmla="*/ 427025 w 1185863"/>
                    <a:gd name="connsiteY26" fmla="*/ 849312 h 1184276"/>
                    <a:gd name="connsiteX27" fmla="*/ 174636 w 1185863"/>
                    <a:gd name="connsiteY27" fmla="*/ 849312 h 1184276"/>
                    <a:gd name="connsiteX28" fmla="*/ 160337 w 1185863"/>
                    <a:gd name="connsiteY28" fmla="*/ 835079 h 1184276"/>
                    <a:gd name="connsiteX29" fmla="*/ 160337 w 1185863"/>
                    <a:gd name="connsiteY29" fmla="*/ 698445 h 1184276"/>
                    <a:gd name="connsiteX30" fmla="*/ 174636 w 1185863"/>
                    <a:gd name="connsiteY30" fmla="*/ 684212 h 1184276"/>
                    <a:gd name="connsiteX31" fmla="*/ 492046 w 1185863"/>
                    <a:gd name="connsiteY31" fmla="*/ 617537 h 1184276"/>
                    <a:gd name="connsiteX32" fmla="*/ 523306 w 1185863"/>
                    <a:gd name="connsiteY32" fmla="*/ 617537 h 1184276"/>
                    <a:gd name="connsiteX33" fmla="*/ 662556 w 1185863"/>
                    <a:gd name="connsiteY33" fmla="*/ 617537 h 1184276"/>
                    <a:gd name="connsiteX34" fmla="*/ 693816 w 1185863"/>
                    <a:gd name="connsiteY34" fmla="*/ 617537 h 1184276"/>
                    <a:gd name="connsiteX35" fmla="*/ 708025 w 1185863"/>
                    <a:gd name="connsiteY35" fmla="*/ 631800 h 1184276"/>
                    <a:gd name="connsiteX36" fmla="*/ 708025 w 1185863"/>
                    <a:gd name="connsiteY36" fmla="*/ 835049 h 1184276"/>
                    <a:gd name="connsiteX37" fmla="*/ 693816 w 1185863"/>
                    <a:gd name="connsiteY37" fmla="*/ 849312 h 1184276"/>
                    <a:gd name="connsiteX38" fmla="*/ 492046 w 1185863"/>
                    <a:gd name="connsiteY38" fmla="*/ 849312 h 1184276"/>
                    <a:gd name="connsiteX39" fmla="*/ 477837 w 1185863"/>
                    <a:gd name="connsiteY39" fmla="*/ 835049 h 1184276"/>
                    <a:gd name="connsiteX40" fmla="*/ 477837 w 1185863"/>
                    <a:gd name="connsiteY40" fmla="*/ 631800 h 1184276"/>
                    <a:gd name="connsiteX41" fmla="*/ 492046 w 1185863"/>
                    <a:gd name="connsiteY41" fmla="*/ 617537 h 1184276"/>
                    <a:gd name="connsiteX42" fmla="*/ 432949 w 1185863"/>
                    <a:gd name="connsiteY42" fmla="*/ 0 h 1184276"/>
                    <a:gd name="connsiteX43" fmla="*/ 450067 w 1185863"/>
                    <a:gd name="connsiteY43" fmla="*/ 7135 h 1184276"/>
                    <a:gd name="connsiteX44" fmla="*/ 457200 w 1185863"/>
                    <a:gd name="connsiteY44" fmla="*/ 24973 h 1184276"/>
                    <a:gd name="connsiteX45" fmla="*/ 373035 w 1185863"/>
                    <a:gd name="connsiteY45" fmla="*/ 144843 h 1184276"/>
                    <a:gd name="connsiteX46" fmla="*/ 411551 w 1185863"/>
                    <a:gd name="connsiteY46" fmla="*/ 392431 h 1184276"/>
                    <a:gd name="connsiteX47" fmla="*/ 411551 w 1185863"/>
                    <a:gd name="connsiteY47" fmla="*/ 396712 h 1184276"/>
                    <a:gd name="connsiteX48" fmla="*/ 382307 w 1185863"/>
                    <a:gd name="connsiteY48" fmla="*/ 455220 h 1184276"/>
                    <a:gd name="connsiteX49" fmla="*/ 377315 w 1185863"/>
                    <a:gd name="connsiteY49" fmla="*/ 458788 h 1184276"/>
                    <a:gd name="connsiteX50" fmla="*/ 373748 w 1185863"/>
                    <a:gd name="connsiteY50" fmla="*/ 455934 h 1184276"/>
                    <a:gd name="connsiteX51" fmla="*/ 303135 w 1185863"/>
                    <a:gd name="connsiteY51" fmla="*/ 261859 h 1184276"/>
                    <a:gd name="connsiteX52" fmla="*/ 281024 w 1185863"/>
                    <a:gd name="connsiteY52" fmla="*/ 236886 h 1184276"/>
                    <a:gd name="connsiteX53" fmla="*/ 272465 w 1185863"/>
                    <a:gd name="connsiteY53" fmla="*/ 245448 h 1184276"/>
                    <a:gd name="connsiteX54" fmla="*/ 124107 w 1185863"/>
                    <a:gd name="connsiteY54" fmla="*/ 371026 h 1184276"/>
                    <a:gd name="connsiteX55" fmla="*/ 134093 w 1185863"/>
                    <a:gd name="connsiteY55" fmla="*/ 405988 h 1184276"/>
                    <a:gd name="connsiteX56" fmla="*/ 134093 w 1185863"/>
                    <a:gd name="connsiteY56" fmla="*/ 406702 h 1184276"/>
                    <a:gd name="connsiteX57" fmla="*/ 124820 w 1185863"/>
                    <a:gd name="connsiteY57" fmla="*/ 439523 h 1184276"/>
                    <a:gd name="connsiteX58" fmla="*/ 124107 w 1185863"/>
                    <a:gd name="connsiteY58" fmla="*/ 440950 h 1184276"/>
                    <a:gd name="connsiteX59" fmla="*/ 123394 w 1185863"/>
                    <a:gd name="connsiteY59" fmla="*/ 441664 h 1184276"/>
                    <a:gd name="connsiteX60" fmla="*/ 106989 w 1185863"/>
                    <a:gd name="connsiteY60" fmla="*/ 440237 h 1184276"/>
                    <a:gd name="connsiteX61" fmla="*/ 76319 w 1185863"/>
                    <a:gd name="connsiteY61" fmla="*/ 403134 h 1184276"/>
                    <a:gd name="connsiteX62" fmla="*/ 39229 w 1185863"/>
                    <a:gd name="connsiteY62" fmla="*/ 423112 h 1184276"/>
                    <a:gd name="connsiteX63" fmla="*/ 35663 w 1185863"/>
                    <a:gd name="connsiteY63" fmla="*/ 419545 h 1184276"/>
                    <a:gd name="connsiteX64" fmla="*/ 55634 w 1185863"/>
                    <a:gd name="connsiteY64" fmla="*/ 382442 h 1184276"/>
                    <a:gd name="connsiteX65" fmla="*/ 17118 w 1185863"/>
                    <a:gd name="connsiteY65" fmla="*/ 348907 h 1184276"/>
                    <a:gd name="connsiteX66" fmla="*/ 15691 w 1185863"/>
                    <a:gd name="connsiteY66" fmla="*/ 332496 h 1184276"/>
                    <a:gd name="connsiteX67" fmla="*/ 16405 w 1185863"/>
                    <a:gd name="connsiteY67" fmla="*/ 331783 h 1184276"/>
                    <a:gd name="connsiteX68" fmla="*/ 17831 w 1185863"/>
                    <a:gd name="connsiteY68" fmla="*/ 330356 h 1184276"/>
                    <a:gd name="connsiteX69" fmla="*/ 49928 w 1185863"/>
                    <a:gd name="connsiteY69" fmla="*/ 321794 h 1184276"/>
                    <a:gd name="connsiteX70" fmla="*/ 50641 w 1185863"/>
                    <a:gd name="connsiteY70" fmla="*/ 321794 h 1184276"/>
                    <a:gd name="connsiteX71" fmla="*/ 87731 w 1185863"/>
                    <a:gd name="connsiteY71" fmla="*/ 331783 h 1184276"/>
                    <a:gd name="connsiteX72" fmla="*/ 88444 w 1185863"/>
                    <a:gd name="connsiteY72" fmla="*/ 331783 h 1184276"/>
                    <a:gd name="connsiteX73" fmla="*/ 211838 w 1185863"/>
                    <a:gd name="connsiteY73" fmla="*/ 185513 h 1184276"/>
                    <a:gd name="connsiteX74" fmla="*/ 220397 w 1185863"/>
                    <a:gd name="connsiteY74" fmla="*/ 176951 h 1184276"/>
                    <a:gd name="connsiteX75" fmla="*/ 193293 w 1185863"/>
                    <a:gd name="connsiteY75" fmla="*/ 153405 h 1184276"/>
                    <a:gd name="connsiteX76" fmla="*/ 2853 w 1185863"/>
                    <a:gd name="connsiteY76" fmla="*/ 82767 h 1184276"/>
                    <a:gd name="connsiteX77" fmla="*/ 0 w 1185863"/>
                    <a:gd name="connsiteY77" fmla="*/ 79200 h 1184276"/>
                    <a:gd name="connsiteX78" fmla="*/ 3566 w 1185863"/>
                    <a:gd name="connsiteY78" fmla="*/ 74205 h 1184276"/>
                    <a:gd name="connsiteX79" fmla="*/ 61340 w 1185863"/>
                    <a:gd name="connsiteY79" fmla="*/ 44951 h 1184276"/>
                    <a:gd name="connsiteX80" fmla="*/ 65620 w 1185863"/>
                    <a:gd name="connsiteY80" fmla="*/ 44238 h 1184276"/>
                    <a:gd name="connsiteX81" fmla="*/ 310981 w 1185863"/>
                    <a:gd name="connsiteY81" fmla="*/ 83481 h 1184276"/>
                    <a:gd name="connsiteX82" fmla="*/ 313121 w 1185863"/>
                    <a:gd name="connsiteY82" fmla="*/ 84908 h 1184276"/>
                    <a:gd name="connsiteX83" fmla="*/ 432949 w 1185863"/>
                    <a:gd name="connsiteY83" fmla="*/ 0 h 1184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185863" h="1184276">
                      <a:moveTo>
                        <a:pt x="1043782" y="1111250"/>
                      </a:moveTo>
                      <a:cubicBezTo>
                        <a:pt x="1064386" y="1111250"/>
                        <a:pt x="1081089" y="1127597"/>
                        <a:pt x="1081089" y="1147763"/>
                      </a:cubicBezTo>
                      <a:cubicBezTo>
                        <a:pt x="1081089" y="1167929"/>
                        <a:pt x="1064386" y="1184276"/>
                        <a:pt x="1043782" y="1184276"/>
                      </a:cubicBezTo>
                      <a:cubicBezTo>
                        <a:pt x="1023178" y="1184276"/>
                        <a:pt x="1006475" y="1167929"/>
                        <a:pt x="1006475" y="1147763"/>
                      </a:cubicBezTo>
                      <a:cubicBezTo>
                        <a:pt x="1006475" y="1127597"/>
                        <a:pt x="1023178" y="1111250"/>
                        <a:pt x="1043782" y="1111250"/>
                      </a:cubicBezTo>
                      <a:close/>
                      <a:moveTo>
                        <a:pt x="113507" y="1111250"/>
                      </a:moveTo>
                      <a:cubicBezTo>
                        <a:pt x="134111" y="1111250"/>
                        <a:pt x="150814" y="1127597"/>
                        <a:pt x="150814" y="1147763"/>
                      </a:cubicBezTo>
                      <a:cubicBezTo>
                        <a:pt x="150814" y="1167929"/>
                        <a:pt x="134111" y="1184276"/>
                        <a:pt x="113507" y="1184276"/>
                      </a:cubicBezTo>
                      <a:cubicBezTo>
                        <a:pt x="92903" y="1184276"/>
                        <a:pt x="76200" y="1167929"/>
                        <a:pt x="76200" y="1147763"/>
                      </a:cubicBezTo>
                      <a:cubicBezTo>
                        <a:pt x="76200" y="1127597"/>
                        <a:pt x="92903" y="1111250"/>
                        <a:pt x="113507" y="1111250"/>
                      </a:cubicBezTo>
                      <a:close/>
                      <a:moveTo>
                        <a:pt x="946933" y="700087"/>
                      </a:moveTo>
                      <a:cubicBezTo>
                        <a:pt x="946933" y="700087"/>
                        <a:pt x="946933" y="700087"/>
                        <a:pt x="1091717" y="700087"/>
                      </a:cubicBezTo>
                      <a:cubicBezTo>
                        <a:pt x="1098850" y="700087"/>
                        <a:pt x="1101703" y="705819"/>
                        <a:pt x="1105982" y="712984"/>
                      </a:cubicBezTo>
                      <a:cubicBezTo>
                        <a:pt x="1105982" y="712984"/>
                        <a:pt x="1105982" y="712984"/>
                        <a:pt x="1185150" y="847682"/>
                      </a:cubicBezTo>
                      <a:cubicBezTo>
                        <a:pt x="1185863" y="849115"/>
                        <a:pt x="1185863" y="849832"/>
                        <a:pt x="1185863" y="851265"/>
                      </a:cubicBezTo>
                      <a:cubicBezTo>
                        <a:pt x="1184437" y="856997"/>
                        <a:pt x="1179444" y="862012"/>
                        <a:pt x="1173025" y="862012"/>
                      </a:cubicBezTo>
                      <a:cubicBezTo>
                        <a:pt x="1173025" y="862012"/>
                        <a:pt x="1173025" y="862012"/>
                        <a:pt x="946933" y="862012"/>
                      </a:cubicBezTo>
                      <a:cubicBezTo>
                        <a:pt x="943366" y="862012"/>
                        <a:pt x="939800" y="858430"/>
                        <a:pt x="939800" y="854847"/>
                      </a:cubicBezTo>
                      <a:cubicBezTo>
                        <a:pt x="939800" y="854847"/>
                        <a:pt x="939800" y="854847"/>
                        <a:pt x="939800" y="707252"/>
                      </a:cubicBezTo>
                      <a:cubicBezTo>
                        <a:pt x="939800" y="702953"/>
                        <a:pt x="943366" y="700087"/>
                        <a:pt x="946933" y="700087"/>
                      </a:cubicBezTo>
                      <a:close/>
                      <a:moveTo>
                        <a:pt x="174636" y="684212"/>
                      </a:moveTo>
                      <a:cubicBezTo>
                        <a:pt x="174636" y="684212"/>
                        <a:pt x="174636" y="684212"/>
                        <a:pt x="231120" y="684212"/>
                      </a:cubicBezTo>
                      <a:cubicBezTo>
                        <a:pt x="260434" y="684212"/>
                        <a:pt x="304048" y="684212"/>
                        <a:pt x="370542" y="684212"/>
                      </a:cubicBezTo>
                      <a:cubicBezTo>
                        <a:pt x="387701" y="684212"/>
                        <a:pt x="406291" y="684212"/>
                        <a:pt x="427025" y="684212"/>
                      </a:cubicBezTo>
                      <a:cubicBezTo>
                        <a:pt x="434890" y="684212"/>
                        <a:pt x="441325" y="690617"/>
                        <a:pt x="441325" y="698445"/>
                      </a:cubicBezTo>
                      <a:cubicBezTo>
                        <a:pt x="441325" y="698445"/>
                        <a:pt x="441325" y="698445"/>
                        <a:pt x="441325" y="835079"/>
                      </a:cubicBezTo>
                      <a:cubicBezTo>
                        <a:pt x="441325" y="842907"/>
                        <a:pt x="434890" y="849312"/>
                        <a:pt x="427025" y="849312"/>
                      </a:cubicBezTo>
                      <a:cubicBezTo>
                        <a:pt x="427025" y="849312"/>
                        <a:pt x="427025" y="849312"/>
                        <a:pt x="174636" y="849312"/>
                      </a:cubicBezTo>
                      <a:cubicBezTo>
                        <a:pt x="166772" y="849312"/>
                        <a:pt x="160337" y="842907"/>
                        <a:pt x="160337" y="835079"/>
                      </a:cubicBezTo>
                      <a:cubicBezTo>
                        <a:pt x="160337" y="835079"/>
                        <a:pt x="160337" y="835079"/>
                        <a:pt x="160337" y="698445"/>
                      </a:cubicBezTo>
                      <a:cubicBezTo>
                        <a:pt x="160337" y="690617"/>
                        <a:pt x="166772" y="684212"/>
                        <a:pt x="174636" y="684212"/>
                      </a:cubicBezTo>
                      <a:close/>
                      <a:moveTo>
                        <a:pt x="492046" y="617537"/>
                      </a:moveTo>
                      <a:cubicBezTo>
                        <a:pt x="492046" y="617537"/>
                        <a:pt x="492046" y="617537"/>
                        <a:pt x="523306" y="617537"/>
                      </a:cubicBezTo>
                      <a:cubicBezTo>
                        <a:pt x="546752" y="617537"/>
                        <a:pt x="588669" y="617537"/>
                        <a:pt x="662556" y="617537"/>
                      </a:cubicBezTo>
                      <a:cubicBezTo>
                        <a:pt x="672502" y="617537"/>
                        <a:pt x="683159" y="617537"/>
                        <a:pt x="693816" y="617537"/>
                      </a:cubicBezTo>
                      <a:cubicBezTo>
                        <a:pt x="701631" y="617537"/>
                        <a:pt x="708025" y="623956"/>
                        <a:pt x="708025" y="631800"/>
                      </a:cubicBezTo>
                      <a:cubicBezTo>
                        <a:pt x="708025" y="631800"/>
                        <a:pt x="708025" y="631800"/>
                        <a:pt x="708025" y="835049"/>
                      </a:cubicBezTo>
                      <a:cubicBezTo>
                        <a:pt x="708025" y="842894"/>
                        <a:pt x="701631" y="849312"/>
                        <a:pt x="693816" y="849312"/>
                      </a:cubicBezTo>
                      <a:cubicBezTo>
                        <a:pt x="693816" y="849312"/>
                        <a:pt x="693816" y="849312"/>
                        <a:pt x="492046" y="849312"/>
                      </a:cubicBezTo>
                      <a:cubicBezTo>
                        <a:pt x="484231" y="849312"/>
                        <a:pt x="477837" y="842894"/>
                        <a:pt x="477837" y="835049"/>
                      </a:cubicBezTo>
                      <a:cubicBezTo>
                        <a:pt x="477837" y="835049"/>
                        <a:pt x="477837" y="835049"/>
                        <a:pt x="477837" y="631800"/>
                      </a:cubicBezTo>
                      <a:cubicBezTo>
                        <a:pt x="477837" y="623956"/>
                        <a:pt x="484231" y="617537"/>
                        <a:pt x="492046" y="617537"/>
                      </a:cubicBezTo>
                      <a:close/>
                      <a:moveTo>
                        <a:pt x="432949" y="0"/>
                      </a:moveTo>
                      <a:cubicBezTo>
                        <a:pt x="439368" y="0"/>
                        <a:pt x="445074" y="2140"/>
                        <a:pt x="450067" y="7135"/>
                      </a:cubicBezTo>
                      <a:cubicBezTo>
                        <a:pt x="455060" y="11416"/>
                        <a:pt x="457200" y="17124"/>
                        <a:pt x="457200" y="24973"/>
                      </a:cubicBezTo>
                      <a:cubicBezTo>
                        <a:pt x="457200" y="51373"/>
                        <a:pt x="421537" y="93470"/>
                        <a:pt x="373035" y="144843"/>
                      </a:cubicBezTo>
                      <a:cubicBezTo>
                        <a:pt x="373035" y="144843"/>
                        <a:pt x="373035" y="144843"/>
                        <a:pt x="411551" y="392431"/>
                      </a:cubicBezTo>
                      <a:cubicBezTo>
                        <a:pt x="412264" y="393858"/>
                        <a:pt x="411551" y="395285"/>
                        <a:pt x="411551" y="396712"/>
                      </a:cubicBezTo>
                      <a:cubicBezTo>
                        <a:pt x="411551" y="396712"/>
                        <a:pt x="411551" y="396712"/>
                        <a:pt x="382307" y="455220"/>
                      </a:cubicBezTo>
                      <a:cubicBezTo>
                        <a:pt x="381594" y="457361"/>
                        <a:pt x="379454" y="458074"/>
                        <a:pt x="377315" y="458788"/>
                      </a:cubicBezTo>
                      <a:cubicBezTo>
                        <a:pt x="375888" y="458788"/>
                        <a:pt x="373748" y="458074"/>
                        <a:pt x="373748" y="455934"/>
                      </a:cubicBezTo>
                      <a:cubicBezTo>
                        <a:pt x="373748" y="455934"/>
                        <a:pt x="373748" y="455934"/>
                        <a:pt x="303135" y="261859"/>
                      </a:cubicBezTo>
                      <a:cubicBezTo>
                        <a:pt x="303135" y="261859"/>
                        <a:pt x="303135" y="261859"/>
                        <a:pt x="281024" y="236886"/>
                      </a:cubicBezTo>
                      <a:cubicBezTo>
                        <a:pt x="278171" y="239740"/>
                        <a:pt x="275318" y="242594"/>
                        <a:pt x="272465" y="245448"/>
                      </a:cubicBezTo>
                      <a:cubicBezTo>
                        <a:pt x="215404" y="301815"/>
                        <a:pt x="161910" y="343912"/>
                        <a:pt x="124107" y="371026"/>
                      </a:cubicBezTo>
                      <a:cubicBezTo>
                        <a:pt x="124107" y="371026"/>
                        <a:pt x="124107" y="371026"/>
                        <a:pt x="134093" y="405988"/>
                      </a:cubicBezTo>
                      <a:cubicBezTo>
                        <a:pt x="134093" y="405988"/>
                        <a:pt x="134093" y="405988"/>
                        <a:pt x="134093" y="406702"/>
                      </a:cubicBezTo>
                      <a:cubicBezTo>
                        <a:pt x="135519" y="416691"/>
                        <a:pt x="126247" y="437383"/>
                        <a:pt x="124820" y="439523"/>
                      </a:cubicBezTo>
                      <a:cubicBezTo>
                        <a:pt x="124820" y="439523"/>
                        <a:pt x="124820" y="439523"/>
                        <a:pt x="124107" y="440950"/>
                      </a:cubicBezTo>
                      <a:cubicBezTo>
                        <a:pt x="124107" y="440950"/>
                        <a:pt x="124107" y="440950"/>
                        <a:pt x="123394" y="441664"/>
                      </a:cubicBezTo>
                      <a:cubicBezTo>
                        <a:pt x="118401" y="445231"/>
                        <a:pt x="112695" y="446658"/>
                        <a:pt x="106989" y="440237"/>
                      </a:cubicBezTo>
                      <a:cubicBezTo>
                        <a:pt x="106989" y="440237"/>
                        <a:pt x="106989" y="440237"/>
                        <a:pt x="76319" y="403134"/>
                      </a:cubicBezTo>
                      <a:cubicBezTo>
                        <a:pt x="59200" y="413837"/>
                        <a:pt x="46362" y="419545"/>
                        <a:pt x="39229" y="423112"/>
                      </a:cubicBezTo>
                      <a:cubicBezTo>
                        <a:pt x="37089" y="423826"/>
                        <a:pt x="34950" y="421685"/>
                        <a:pt x="35663" y="419545"/>
                      </a:cubicBezTo>
                      <a:cubicBezTo>
                        <a:pt x="38516" y="412410"/>
                        <a:pt x="45648" y="399566"/>
                        <a:pt x="55634" y="382442"/>
                      </a:cubicBezTo>
                      <a:cubicBezTo>
                        <a:pt x="55634" y="382442"/>
                        <a:pt x="55634" y="382442"/>
                        <a:pt x="17118" y="348907"/>
                      </a:cubicBezTo>
                      <a:cubicBezTo>
                        <a:pt x="9985" y="343912"/>
                        <a:pt x="12125" y="336777"/>
                        <a:pt x="15691" y="332496"/>
                      </a:cubicBezTo>
                      <a:cubicBezTo>
                        <a:pt x="15691" y="332496"/>
                        <a:pt x="15691" y="332496"/>
                        <a:pt x="16405" y="331783"/>
                      </a:cubicBezTo>
                      <a:cubicBezTo>
                        <a:pt x="16405" y="331783"/>
                        <a:pt x="16405" y="331783"/>
                        <a:pt x="17831" y="330356"/>
                      </a:cubicBezTo>
                      <a:cubicBezTo>
                        <a:pt x="19971" y="329642"/>
                        <a:pt x="40656" y="320367"/>
                        <a:pt x="49928" y="321794"/>
                      </a:cubicBezTo>
                      <a:cubicBezTo>
                        <a:pt x="49928" y="321794"/>
                        <a:pt x="49928" y="321794"/>
                        <a:pt x="50641" y="321794"/>
                      </a:cubicBezTo>
                      <a:cubicBezTo>
                        <a:pt x="50641" y="321794"/>
                        <a:pt x="50641" y="321794"/>
                        <a:pt x="87731" y="331783"/>
                      </a:cubicBezTo>
                      <a:cubicBezTo>
                        <a:pt x="87731" y="331783"/>
                        <a:pt x="87731" y="331783"/>
                        <a:pt x="88444" y="331783"/>
                      </a:cubicBezTo>
                      <a:cubicBezTo>
                        <a:pt x="114835" y="294680"/>
                        <a:pt x="156204" y="241167"/>
                        <a:pt x="211838" y="185513"/>
                      </a:cubicBezTo>
                      <a:cubicBezTo>
                        <a:pt x="214691" y="182659"/>
                        <a:pt x="217544" y="179805"/>
                        <a:pt x="220397" y="176951"/>
                      </a:cubicBezTo>
                      <a:cubicBezTo>
                        <a:pt x="220397" y="176951"/>
                        <a:pt x="220397" y="176951"/>
                        <a:pt x="193293" y="153405"/>
                      </a:cubicBezTo>
                      <a:cubicBezTo>
                        <a:pt x="193293" y="153405"/>
                        <a:pt x="193293" y="153405"/>
                        <a:pt x="2853" y="82767"/>
                      </a:cubicBezTo>
                      <a:cubicBezTo>
                        <a:pt x="713" y="82767"/>
                        <a:pt x="0" y="81340"/>
                        <a:pt x="0" y="79200"/>
                      </a:cubicBezTo>
                      <a:cubicBezTo>
                        <a:pt x="0" y="77059"/>
                        <a:pt x="1426" y="74919"/>
                        <a:pt x="3566" y="74205"/>
                      </a:cubicBezTo>
                      <a:cubicBezTo>
                        <a:pt x="3566" y="74205"/>
                        <a:pt x="3566" y="74205"/>
                        <a:pt x="61340" y="44951"/>
                      </a:cubicBezTo>
                      <a:cubicBezTo>
                        <a:pt x="62767" y="44238"/>
                        <a:pt x="64193" y="44238"/>
                        <a:pt x="65620" y="44238"/>
                      </a:cubicBezTo>
                      <a:cubicBezTo>
                        <a:pt x="65620" y="44238"/>
                        <a:pt x="65620" y="44238"/>
                        <a:pt x="310981" y="83481"/>
                      </a:cubicBezTo>
                      <a:cubicBezTo>
                        <a:pt x="311695" y="84194"/>
                        <a:pt x="312408" y="84194"/>
                        <a:pt x="313121" y="84908"/>
                      </a:cubicBezTo>
                      <a:cubicBezTo>
                        <a:pt x="363763" y="34962"/>
                        <a:pt x="405845" y="0"/>
                        <a:pt x="432949"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grpSp>
        <p:nvGrpSpPr>
          <p:cNvPr id="61" name="Group 60">
            <a:extLst>
              <a:ext uri="{FF2B5EF4-FFF2-40B4-BE49-F238E27FC236}">
                <a16:creationId xmlns:a16="http://schemas.microsoft.com/office/drawing/2014/main" id="{BB392668-5B3F-4C82-AC2D-95DCC09FAB06}"/>
              </a:ext>
            </a:extLst>
          </p:cNvPr>
          <p:cNvGrpSpPr/>
          <p:nvPr/>
        </p:nvGrpSpPr>
        <p:grpSpPr>
          <a:xfrm>
            <a:off x="476222" y="1327417"/>
            <a:ext cx="611529" cy="610940"/>
            <a:chOff x="3879451" y="1959485"/>
            <a:chExt cx="1071824" cy="1070791"/>
          </a:xfrm>
        </p:grpSpPr>
        <p:sp>
          <p:nvSpPr>
            <p:cNvPr id="60" name="Oval 59">
              <a:extLst>
                <a:ext uri="{FF2B5EF4-FFF2-40B4-BE49-F238E27FC236}">
                  <a16:creationId xmlns:a16="http://schemas.microsoft.com/office/drawing/2014/main" id="{CE1DB7BC-76B7-44AC-9BE7-27D1F11EE0B0}"/>
                </a:ext>
              </a:extLst>
            </p:cNvPr>
            <p:cNvSpPr/>
            <p:nvPr>
              <p:custDataLst>
                <p:tags r:id="rId3"/>
              </p:custDataLst>
            </p:nvPr>
          </p:nvSpPr>
          <p:spPr bwMode="auto">
            <a:xfrm>
              <a:off x="3879451" y="1959485"/>
              <a:ext cx="1071824" cy="1070791"/>
            </a:xfrm>
            <a:prstGeom prst="ellipse">
              <a:avLst/>
            </a:prstGeom>
            <a:solidFill>
              <a:srgbClr val="FFFFFF"/>
            </a:solidFill>
            <a:ln w="19050">
              <a:gradFill flip="none" rotWithShape="1">
                <a:gsLst>
                  <a:gs pos="0">
                    <a:srgbClr val="003B59"/>
                  </a:gs>
                  <a:gs pos="100000">
                    <a:srgbClr val="A8BCCF"/>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68580" tIns="68580" rIns="68580" bIns="68580" rtlCol="0" anchor="ctr"/>
            <a:lstStyle/>
            <a:p>
              <a:pPr algn="ctr">
                <a:spcBef>
                  <a:spcPts val="0"/>
                </a:spcBef>
                <a:spcAft>
                  <a:spcPts val="0"/>
                </a:spcAft>
              </a:pPr>
              <a:endParaRPr lang="de-DE" sz="1600" kern="0" dirty="0">
                <a:solidFill>
                  <a:schemeClr val="bg1">
                    <a:lumMod val="50000"/>
                  </a:schemeClr>
                </a:solidFill>
                <a:latin typeface="+mn-lt"/>
                <a:cs typeface="+mn-cs"/>
              </a:endParaRPr>
            </a:p>
          </p:txBody>
        </p:sp>
        <p:grpSp>
          <p:nvGrpSpPr>
            <p:cNvPr id="55" name="Group 54">
              <a:extLst>
                <a:ext uri="{FF2B5EF4-FFF2-40B4-BE49-F238E27FC236}">
                  <a16:creationId xmlns:a16="http://schemas.microsoft.com/office/drawing/2014/main" id="{464D908A-E9F9-4866-B02A-348C5718FD34}"/>
                </a:ext>
              </a:extLst>
            </p:cNvPr>
            <p:cNvGrpSpPr>
              <a:grpSpLocks noChangeAspect="1"/>
            </p:cNvGrpSpPr>
            <p:nvPr/>
          </p:nvGrpSpPr>
          <p:grpSpPr>
            <a:xfrm>
              <a:off x="4036416" y="2116299"/>
              <a:ext cx="757894" cy="757163"/>
              <a:chOff x="5273675" y="2606675"/>
              <a:chExt cx="1646238" cy="1644650"/>
            </a:xfrm>
          </p:grpSpPr>
          <p:sp>
            <p:nvSpPr>
              <p:cNvPr id="56" name="AutoShape 3">
                <a:extLst>
                  <a:ext uri="{FF2B5EF4-FFF2-40B4-BE49-F238E27FC236}">
                    <a16:creationId xmlns:a16="http://schemas.microsoft.com/office/drawing/2014/main" id="{1BBD97D4-C065-440E-9C99-E2281BD76361}"/>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nvGrpSpPr>
              <p:cNvPr id="57" name="Group 56">
                <a:extLst>
                  <a:ext uri="{FF2B5EF4-FFF2-40B4-BE49-F238E27FC236}">
                    <a16:creationId xmlns:a16="http://schemas.microsoft.com/office/drawing/2014/main" id="{6BFB7D70-E994-4AFD-AD0C-954EBA297E90}"/>
                  </a:ext>
                </a:extLst>
              </p:cNvPr>
              <p:cNvGrpSpPr/>
              <p:nvPr/>
            </p:nvGrpSpPr>
            <p:grpSpPr>
              <a:xfrm>
                <a:off x="5443538" y="2960688"/>
                <a:ext cx="1304925" cy="936625"/>
                <a:chOff x="5443538" y="2960688"/>
                <a:chExt cx="1304925" cy="936625"/>
              </a:xfrm>
            </p:grpSpPr>
            <p:sp>
              <p:nvSpPr>
                <p:cNvPr id="58" name="Freeform 5">
                  <a:extLst>
                    <a:ext uri="{FF2B5EF4-FFF2-40B4-BE49-F238E27FC236}">
                      <a16:creationId xmlns:a16="http://schemas.microsoft.com/office/drawing/2014/main" id="{2A3056D8-1A87-419D-86CF-2EDE6210AAFB}"/>
                    </a:ext>
                  </a:extLst>
                </p:cNvPr>
                <p:cNvSpPr>
                  <a:spLocks/>
                </p:cNvSpPr>
                <p:nvPr/>
              </p:nvSpPr>
              <p:spPr bwMode="auto">
                <a:xfrm>
                  <a:off x="5443538" y="2960688"/>
                  <a:ext cx="1304925" cy="936625"/>
                </a:xfrm>
                <a:custGeom>
                  <a:avLst/>
                  <a:gdLst>
                    <a:gd name="T0" fmla="*/ 1806 w 1828"/>
                    <a:gd name="T1" fmla="*/ 0 h 1313"/>
                    <a:gd name="T2" fmla="*/ 1123 w 1828"/>
                    <a:gd name="T3" fmla="*/ 0 h 1313"/>
                    <a:gd name="T4" fmla="*/ 1123 w 1828"/>
                    <a:gd name="T5" fmla="*/ 1 h 1313"/>
                    <a:gd name="T6" fmla="*/ 1123 w 1828"/>
                    <a:gd name="T7" fmla="*/ 44 h 1313"/>
                    <a:gd name="T8" fmla="*/ 1784 w 1828"/>
                    <a:gd name="T9" fmla="*/ 44 h 1313"/>
                    <a:gd name="T10" fmla="*/ 1784 w 1828"/>
                    <a:gd name="T11" fmla="*/ 1269 h 1313"/>
                    <a:gd name="T12" fmla="*/ 44 w 1828"/>
                    <a:gd name="T13" fmla="*/ 1269 h 1313"/>
                    <a:gd name="T14" fmla="*/ 44 w 1828"/>
                    <a:gd name="T15" fmla="*/ 44 h 1313"/>
                    <a:gd name="T16" fmla="*/ 705 w 1828"/>
                    <a:gd name="T17" fmla="*/ 44 h 1313"/>
                    <a:gd name="T18" fmla="*/ 705 w 1828"/>
                    <a:gd name="T19" fmla="*/ 1 h 1313"/>
                    <a:gd name="T20" fmla="*/ 705 w 1828"/>
                    <a:gd name="T21" fmla="*/ 0 h 1313"/>
                    <a:gd name="T22" fmla="*/ 22 w 1828"/>
                    <a:gd name="T23" fmla="*/ 0 h 1313"/>
                    <a:gd name="T24" fmla="*/ 0 w 1828"/>
                    <a:gd name="T25" fmla="*/ 22 h 1313"/>
                    <a:gd name="T26" fmla="*/ 0 w 1828"/>
                    <a:gd name="T27" fmla="*/ 1291 h 1313"/>
                    <a:gd name="T28" fmla="*/ 22 w 1828"/>
                    <a:gd name="T29" fmla="*/ 1313 h 1313"/>
                    <a:gd name="T30" fmla="*/ 1806 w 1828"/>
                    <a:gd name="T31" fmla="*/ 1313 h 1313"/>
                    <a:gd name="T32" fmla="*/ 1828 w 1828"/>
                    <a:gd name="T33" fmla="*/ 1291 h 1313"/>
                    <a:gd name="T34" fmla="*/ 1828 w 1828"/>
                    <a:gd name="T35" fmla="*/ 22 h 1313"/>
                    <a:gd name="T36" fmla="*/ 1806 w 1828"/>
                    <a:gd name="T37" fmla="*/ 0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28" h="1313">
                      <a:moveTo>
                        <a:pt x="1806" y="0"/>
                      </a:moveTo>
                      <a:cubicBezTo>
                        <a:pt x="1123" y="0"/>
                        <a:pt x="1123" y="0"/>
                        <a:pt x="1123" y="0"/>
                      </a:cubicBezTo>
                      <a:cubicBezTo>
                        <a:pt x="1123" y="1"/>
                        <a:pt x="1123" y="1"/>
                        <a:pt x="1123" y="1"/>
                      </a:cubicBezTo>
                      <a:cubicBezTo>
                        <a:pt x="1123" y="44"/>
                        <a:pt x="1123" y="44"/>
                        <a:pt x="1123" y="44"/>
                      </a:cubicBezTo>
                      <a:cubicBezTo>
                        <a:pt x="1784" y="44"/>
                        <a:pt x="1784" y="44"/>
                        <a:pt x="1784" y="44"/>
                      </a:cubicBezTo>
                      <a:cubicBezTo>
                        <a:pt x="1784" y="1269"/>
                        <a:pt x="1784" y="1269"/>
                        <a:pt x="1784" y="1269"/>
                      </a:cubicBezTo>
                      <a:cubicBezTo>
                        <a:pt x="44" y="1269"/>
                        <a:pt x="44" y="1269"/>
                        <a:pt x="44" y="1269"/>
                      </a:cubicBezTo>
                      <a:cubicBezTo>
                        <a:pt x="44" y="44"/>
                        <a:pt x="44" y="44"/>
                        <a:pt x="44" y="44"/>
                      </a:cubicBezTo>
                      <a:cubicBezTo>
                        <a:pt x="705" y="44"/>
                        <a:pt x="705" y="44"/>
                        <a:pt x="705" y="44"/>
                      </a:cubicBezTo>
                      <a:cubicBezTo>
                        <a:pt x="705" y="1"/>
                        <a:pt x="705" y="1"/>
                        <a:pt x="705" y="1"/>
                      </a:cubicBezTo>
                      <a:cubicBezTo>
                        <a:pt x="705" y="0"/>
                        <a:pt x="705" y="0"/>
                        <a:pt x="705" y="0"/>
                      </a:cubicBezTo>
                      <a:cubicBezTo>
                        <a:pt x="22" y="0"/>
                        <a:pt x="22" y="0"/>
                        <a:pt x="22" y="0"/>
                      </a:cubicBezTo>
                      <a:cubicBezTo>
                        <a:pt x="10" y="0"/>
                        <a:pt x="0" y="10"/>
                        <a:pt x="0" y="22"/>
                      </a:cubicBezTo>
                      <a:cubicBezTo>
                        <a:pt x="0" y="1291"/>
                        <a:pt x="0" y="1291"/>
                        <a:pt x="0" y="1291"/>
                      </a:cubicBezTo>
                      <a:cubicBezTo>
                        <a:pt x="0" y="1303"/>
                        <a:pt x="10" y="1313"/>
                        <a:pt x="22" y="1313"/>
                      </a:cubicBezTo>
                      <a:cubicBezTo>
                        <a:pt x="1806" y="1313"/>
                        <a:pt x="1806" y="1313"/>
                        <a:pt x="1806" y="1313"/>
                      </a:cubicBezTo>
                      <a:cubicBezTo>
                        <a:pt x="1818" y="1313"/>
                        <a:pt x="1828" y="1303"/>
                        <a:pt x="1828" y="1291"/>
                      </a:cubicBezTo>
                      <a:cubicBezTo>
                        <a:pt x="1828" y="22"/>
                        <a:pt x="1828" y="22"/>
                        <a:pt x="1828" y="22"/>
                      </a:cubicBezTo>
                      <a:cubicBezTo>
                        <a:pt x="1828" y="10"/>
                        <a:pt x="1818" y="0"/>
                        <a:pt x="1806" y="0"/>
                      </a:cubicBezTo>
                      <a:close/>
                    </a:path>
                  </a:pathLst>
                </a:custGeom>
                <a:solidFill>
                  <a:srgbClr val="003B59"/>
                </a:solidFill>
                <a:ln>
                  <a:noFill/>
                </a:ln>
              </p:spPr>
              <p:txBody>
                <a:bodyPr vert="horz" wrap="square" lIns="91440" tIns="45720" rIns="91440" bIns="45720" numCol="1" anchor="t" anchorCtr="0" compatLnSpc="1">
                  <a:prstTxWarp prst="textNoShape">
                    <a:avLst/>
                  </a:prstTxWarp>
                </a:bodyPr>
                <a:lstStyle/>
                <a:p>
                  <a:endParaRPr lang="de-DE" dirty="0"/>
                </a:p>
              </p:txBody>
            </p:sp>
            <p:sp>
              <p:nvSpPr>
                <p:cNvPr id="59" name="Freeform 19">
                  <a:extLst>
                    <a:ext uri="{FF2B5EF4-FFF2-40B4-BE49-F238E27FC236}">
                      <a16:creationId xmlns:a16="http://schemas.microsoft.com/office/drawing/2014/main" id="{C6477C24-8177-44FB-BEC2-EC907D23CCC8}"/>
                    </a:ext>
                  </a:extLst>
                </p:cNvPr>
                <p:cNvSpPr>
                  <a:spLocks/>
                </p:cNvSpPr>
                <p:nvPr/>
              </p:nvSpPr>
              <p:spPr bwMode="auto">
                <a:xfrm>
                  <a:off x="5538788" y="2962274"/>
                  <a:ext cx="1108419" cy="846138"/>
                </a:xfrm>
                <a:custGeom>
                  <a:avLst/>
                  <a:gdLst>
                    <a:gd name="connsiteX0" fmla="*/ 15729 w 1108419"/>
                    <a:gd name="connsiteY0" fmla="*/ 814388 h 846138"/>
                    <a:gd name="connsiteX1" fmla="*/ 172310 w 1108419"/>
                    <a:gd name="connsiteY1" fmla="*/ 814388 h 846138"/>
                    <a:gd name="connsiteX2" fmla="*/ 187325 w 1108419"/>
                    <a:gd name="connsiteY2" fmla="*/ 830632 h 846138"/>
                    <a:gd name="connsiteX3" fmla="*/ 172310 w 1108419"/>
                    <a:gd name="connsiteY3" fmla="*/ 846138 h 846138"/>
                    <a:gd name="connsiteX4" fmla="*/ 15729 w 1108419"/>
                    <a:gd name="connsiteY4" fmla="*/ 846138 h 846138"/>
                    <a:gd name="connsiteX5" fmla="*/ 0 w 1108419"/>
                    <a:gd name="connsiteY5" fmla="*/ 830632 h 846138"/>
                    <a:gd name="connsiteX6" fmla="*/ 15729 w 1108419"/>
                    <a:gd name="connsiteY6" fmla="*/ 814388 h 846138"/>
                    <a:gd name="connsiteX7" fmla="*/ 15772 w 1108419"/>
                    <a:gd name="connsiteY7" fmla="*/ 755650 h 846138"/>
                    <a:gd name="connsiteX8" fmla="*/ 296095 w 1108419"/>
                    <a:gd name="connsiteY8" fmla="*/ 755650 h 846138"/>
                    <a:gd name="connsiteX9" fmla="*/ 311150 w 1108419"/>
                    <a:gd name="connsiteY9" fmla="*/ 771082 h 846138"/>
                    <a:gd name="connsiteX10" fmla="*/ 296095 w 1108419"/>
                    <a:gd name="connsiteY10" fmla="*/ 785813 h 846138"/>
                    <a:gd name="connsiteX11" fmla="*/ 15772 w 1108419"/>
                    <a:gd name="connsiteY11" fmla="*/ 785813 h 846138"/>
                    <a:gd name="connsiteX12" fmla="*/ 0 w 1108419"/>
                    <a:gd name="connsiteY12" fmla="*/ 771082 h 846138"/>
                    <a:gd name="connsiteX13" fmla="*/ 15772 w 1108419"/>
                    <a:gd name="connsiteY13" fmla="*/ 755650 h 846138"/>
                    <a:gd name="connsiteX14" fmla="*/ 15795 w 1108419"/>
                    <a:gd name="connsiteY14" fmla="*/ 695325 h 846138"/>
                    <a:gd name="connsiteX15" fmla="*/ 269955 w 1108419"/>
                    <a:gd name="connsiteY15" fmla="*/ 695325 h 846138"/>
                    <a:gd name="connsiteX16" fmla="*/ 285750 w 1108419"/>
                    <a:gd name="connsiteY16" fmla="*/ 710757 h 846138"/>
                    <a:gd name="connsiteX17" fmla="*/ 269955 w 1108419"/>
                    <a:gd name="connsiteY17" fmla="*/ 725488 h 846138"/>
                    <a:gd name="connsiteX18" fmla="*/ 15795 w 1108419"/>
                    <a:gd name="connsiteY18" fmla="*/ 725488 h 846138"/>
                    <a:gd name="connsiteX19" fmla="*/ 0 w 1108419"/>
                    <a:gd name="connsiteY19" fmla="*/ 710757 h 846138"/>
                    <a:gd name="connsiteX20" fmla="*/ 15795 w 1108419"/>
                    <a:gd name="connsiteY20" fmla="*/ 695325 h 846138"/>
                    <a:gd name="connsiteX21" fmla="*/ 1022350 w 1108419"/>
                    <a:gd name="connsiteY21" fmla="*/ 657225 h 846138"/>
                    <a:gd name="connsiteX22" fmla="*/ 1025189 w 1108419"/>
                    <a:gd name="connsiteY22" fmla="*/ 657941 h 846138"/>
                    <a:gd name="connsiteX23" fmla="*/ 1028029 w 1108419"/>
                    <a:gd name="connsiteY23" fmla="*/ 658656 h 846138"/>
                    <a:gd name="connsiteX24" fmla="*/ 1028738 w 1108419"/>
                    <a:gd name="connsiteY24" fmla="*/ 658656 h 846138"/>
                    <a:gd name="connsiteX25" fmla="*/ 1030868 w 1108419"/>
                    <a:gd name="connsiteY25" fmla="*/ 659372 h 846138"/>
                    <a:gd name="connsiteX26" fmla="*/ 1033707 w 1108419"/>
                    <a:gd name="connsiteY26" fmla="*/ 661519 h 846138"/>
                    <a:gd name="connsiteX27" fmla="*/ 1104693 w 1108419"/>
                    <a:gd name="connsiteY27" fmla="*/ 733077 h 846138"/>
                    <a:gd name="connsiteX28" fmla="*/ 1104693 w 1108419"/>
                    <a:gd name="connsiteY28" fmla="*/ 754544 h 846138"/>
                    <a:gd name="connsiteX29" fmla="*/ 1093336 w 1108419"/>
                    <a:gd name="connsiteY29" fmla="*/ 758837 h 846138"/>
                    <a:gd name="connsiteX30" fmla="*/ 1082688 w 1108419"/>
                    <a:gd name="connsiteY30" fmla="*/ 754544 h 846138"/>
                    <a:gd name="connsiteX31" fmla="*/ 1037967 w 1108419"/>
                    <a:gd name="connsiteY31" fmla="*/ 709462 h 846138"/>
                    <a:gd name="connsiteX32" fmla="*/ 1037967 w 1108419"/>
                    <a:gd name="connsiteY32" fmla="*/ 831111 h 846138"/>
                    <a:gd name="connsiteX33" fmla="*/ 1022350 w 1108419"/>
                    <a:gd name="connsiteY33" fmla="*/ 846138 h 846138"/>
                    <a:gd name="connsiteX34" fmla="*/ 1007443 w 1108419"/>
                    <a:gd name="connsiteY34" fmla="*/ 831111 h 846138"/>
                    <a:gd name="connsiteX35" fmla="*/ 1007443 w 1108419"/>
                    <a:gd name="connsiteY35" fmla="*/ 709462 h 846138"/>
                    <a:gd name="connsiteX36" fmla="*/ 962722 w 1108419"/>
                    <a:gd name="connsiteY36" fmla="*/ 754544 h 846138"/>
                    <a:gd name="connsiteX37" fmla="*/ 941426 w 1108419"/>
                    <a:gd name="connsiteY37" fmla="*/ 754544 h 846138"/>
                    <a:gd name="connsiteX38" fmla="*/ 941426 w 1108419"/>
                    <a:gd name="connsiteY38" fmla="*/ 733077 h 846138"/>
                    <a:gd name="connsiteX39" fmla="*/ 1012412 w 1108419"/>
                    <a:gd name="connsiteY39" fmla="*/ 661519 h 846138"/>
                    <a:gd name="connsiteX40" fmla="*/ 1014541 w 1108419"/>
                    <a:gd name="connsiteY40" fmla="*/ 659372 h 846138"/>
                    <a:gd name="connsiteX41" fmla="*/ 1016671 w 1108419"/>
                    <a:gd name="connsiteY41" fmla="*/ 658656 h 846138"/>
                    <a:gd name="connsiteX42" fmla="*/ 1019510 w 1108419"/>
                    <a:gd name="connsiteY42" fmla="*/ 657941 h 846138"/>
                    <a:gd name="connsiteX43" fmla="*/ 1022350 w 1108419"/>
                    <a:gd name="connsiteY43" fmla="*/ 657225 h 846138"/>
                    <a:gd name="connsiteX44" fmla="*/ 198437 w 1108419"/>
                    <a:gd name="connsiteY44" fmla="*/ 471488 h 846138"/>
                    <a:gd name="connsiteX45" fmla="*/ 263525 w 1108419"/>
                    <a:gd name="connsiteY45" fmla="*/ 471488 h 846138"/>
                    <a:gd name="connsiteX46" fmla="*/ 263525 w 1108419"/>
                    <a:gd name="connsiteY46" fmla="*/ 505234 h 846138"/>
                    <a:gd name="connsiteX47" fmla="*/ 247790 w 1108419"/>
                    <a:gd name="connsiteY47" fmla="*/ 520701 h 846138"/>
                    <a:gd name="connsiteX48" fmla="*/ 198437 w 1108419"/>
                    <a:gd name="connsiteY48" fmla="*/ 520701 h 846138"/>
                    <a:gd name="connsiteX49" fmla="*/ 198437 w 1108419"/>
                    <a:gd name="connsiteY49" fmla="*/ 471488 h 846138"/>
                    <a:gd name="connsiteX50" fmla="*/ 1587 w 1108419"/>
                    <a:gd name="connsiteY50" fmla="*/ 471488 h 846138"/>
                    <a:gd name="connsiteX51" fmla="*/ 166687 w 1108419"/>
                    <a:gd name="connsiteY51" fmla="*/ 471488 h 846138"/>
                    <a:gd name="connsiteX52" fmla="*/ 166687 w 1108419"/>
                    <a:gd name="connsiteY52" fmla="*/ 520701 h 846138"/>
                    <a:gd name="connsiteX53" fmla="*/ 17311 w 1108419"/>
                    <a:gd name="connsiteY53" fmla="*/ 520701 h 846138"/>
                    <a:gd name="connsiteX54" fmla="*/ 1587 w 1108419"/>
                    <a:gd name="connsiteY54" fmla="*/ 505234 h 846138"/>
                    <a:gd name="connsiteX55" fmla="*/ 1587 w 1108419"/>
                    <a:gd name="connsiteY55" fmla="*/ 471488 h 846138"/>
                    <a:gd name="connsiteX56" fmla="*/ 198437 w 1108419"/>
                    <a:gd name="connsiteY56" fmla="*/ 390525 h 846138"/>
                    <a:gd name="connsiteX57" fmla="*/ 247790 w 1108419"/>
                    <a:gd name="connsiteY57" fmla="*/ 390525 h 846138"/>
                    <a:gd name="connsiteX58" fmla="*/ 263525 w 1108419"/>
                    <a:gd name="connsiteY58" fmla="*/ 406216 h 846138"/>
                    <a:gd name="connsiteX59" fmla="*/ 263525 w 1108419"/>
                    <a:gd name="connsiteY59" fmla="*/ 439738 h 846138"/>
                    <a:gd name="connsiteX60" fmla="*/ 198437 w 1108419"/>
                    <a:gd name="connsiteY60" fmla="*/ 439738 h 846138"/>
                    <a:gd name="connsiteX61" fmla="*/ 198437 w 1108419"/>
                    <a:gd name="connsiteY61" fmla="*/ 390525 h 846138"/>
                    <a:gd name="connsiteX62" fmla="*/ 17311 w 1108419"/>
                    <a:gd name="connsiteY62" fmla="*/ 390525 h 846138"/>
                    <a:gd name="connsiteX63" fmla="*/ 166687 w 1108419"/>
                    <a:gd name="connsiteY63" fmla="*/ 390525 h 846138"/>
                    <a:gd name="connsiteX64" fmla="*/ 166687 w 1108419"/>
                    <a:gd name="connsiteY64" fmla="*/ 439738 h 846138"/>
                    <a:gd name="connsiteX65" fmla="*/ 1587 w 1108419"/>
                    <a:gd name="connsiteY65" fmla="*/ 439738 h 846138"/>
                    <a:gd name="connsiteX66" fmla="*/ 1587 w 1108419"/>
                    <a:gd name="connsiteY66" fmla="*/ 406216 h 846138"/>
                    <a:gd name="connsiteX67" fmla="*/ 17311 w 1108419"/>
                    <a:gd name="connsiteY67" fmla="*/ 390525 h 846138"/>
                    <a:gd name="connsiteX68" fmla="*/ 439737 w 1108419"/>
                    <a:gd name="connsiteY68" fmla="*/ 0 h 846138"/>
                    <a:gd name="connsiteX69" fmla="*/ 446857 w 1108419"/>
                    <a:gd name="connsiteY69" fmla="*/ 0 h 846138"/>
                    <a:gd name="connsiteX70" fmla="*/ 667568 w 1108419"/>
                    <a:gd name="connsiteY70" fmla="*/ 0 h 846138"/>
                    <a:gd name="connsiteX71" fmla="*/ 674687 w 1108419"/>
                    <a:gd name="connsiteY71" fmla="*/ 0 h 846138"/>
                    <a:gd name="connsiteX72" fmla="*/ 674687 w 1108419"/>
                    <a:gd name="connsiteY72" fmla="*/ 30490 h 846138"/>
                    <a:gd name="connsiteX73" fmla="*/ 674687 w 1108419"/>
                    <a:gd name="connsiteY73" fmla="*/ 204216 h 846138"/>
                    <a:gd name="connsiteX74" fmla="*/ 668991 w 1108419"/>
                    <a:gd name="connsiteY74" fmla="*/ 209179 h 846138"/>
                    <a:gd name="connsiteX75" fmla="*/ 666144 w 1108419"/>
                    <a:gd name="connsiteY75" fmla="*/ 208470 h 846138"/>
                    <a:gd name="connsiteX76" fmla="*/ 641225 w 1108419"/>
                    <a:gd name="connsiteY76" fmla="*/ 194998 h 846138"/>
                    <a:gd name="connsiteX77" fmla="*/ 638377 w 1108419"/>
                    <a:gd name="connsiteY77" fmla="*/ 194289 h 846138"/>
                    <a:gd name="connsiteX78" fmla="*/ 635529 w 1108419"/>
                    <a:gd name="connsiteY78" fmla="*/ 194998 h 846138"/>
                    <a:gd name="connsiteX79" fmla="*/ 603490 w 1108419"/>
                    <a:gd name="connsiteY79" fmla="*/ 212016 h 846138"/>
                    <a:gd name="connsiteX80" fmla="*/ 600642 w 1108419"/>
                    <a:gd name="connsiteY80" fmla="*/ 212725 h 846138"/>
                    <a:gd name="connsiteX81" fmla="*/ 597795 w 1108419"/>
                    <a:gd name="connsiteY81" fmla="*/ 212016 h 846138"/>
                    <a:gd name="connsiteX82" fmla="*/ 560060 w 1108419"/>
                    <a:gd name="connsiteY82" fmla="*/ 194998 h 846138"/>
                    <a:gd name="connsiteX83" fmla="*/ 557212 w 1108419"/>
                    <a:gd name="connsiteY83" fmla="*/ 194289 h 846138"/>
                    <a:gd name="connsiteX84" fmla="*/ 554364 w 1108419"/>
                    <a:gd name="connsiteY84" fmla="*/ 194998 h 846138"/>
                    <a:gd name="connsiteX85" fmla="*/ 517342 w 1108419"/>
                    <a:gd name="connsiteY85" fmla="*/ 212016 h 846138"/>
                    <a:gd name="connsiteX86" fmla="*/ 515206 w 1108419"/>
                    <a:gd name="connsiteY86" fmla="*/ 212725 h 846138"/>
                    <a:gd name="connsiteX87" fmla="*/ 511646 w 1108419"/>
                    <a:gd name="connsiteY87" fmla="*/ 212016 h 846138"/>
                    <a:gd name="connsiteX88" fmla="*/ 478896 w 1108419"/>
                    <a:gd name="connsiteY88" fmla="*/ 194998 h 846138"/>
                    <a:gd name="connsiteX89" fmla="*/ 476760 w 1108419"/>
                    <a:gd name="connsiteY89" fmla="*/ 194289 h 846138"/>
                    <a:gd name="connsiteX90" fmla="*/ 473912 w 1108419"/>
                    <a:gd name="connsiteY90" fmla="*/ 194998 h 846138"/>
                    <a:gd name="connsiteX91" fmla="*/ 448281 w 1108419"/>
                    <a:gd name="connsiteY91" fmla="*/ 208470 h 846138"/>
                    <a:gd name="connsiteX92" fmla="*/ 444721 w 1108419"/>
                    <a:gd name="connsiteY92" fmla="*/ 209179 h 846138"/>
                    <a:gd name="connsiteX93" fmla="*/ 439737 w 1108419"/>
                    <a:gd name="connsiteY93" fmla="*/ 204216 h 846138"/>
                    <a:gd name="connsiteX94" fmla="*/ 439737 w 1108419"/>
                    <a:gd name="connsiteY94" fmla="*/ 30490 h 846138"/>
                    <a:gd name="connsiteX95" fmla="*/ 439737 w 1108419"/>
                    <a:gd name="connsiteY95" fmla="*/ 0 h 846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108419" h="846138">
                      <a:moveTo>
                        <a:pt x="15729" y="814388"/>
                      </a:moveTo>
                      <a:cubicBezTo>
                        <a:pt x="15729" y="814388"/>
                        <a:pt x="15729" y="814388"/>
                        <a:pt x="172310" y="814388"/>
                      </a:cubicBezTo>
                      <a:cubicBezTo>
                        <a:pt x="180175" y="814388"/>
                        <a:pt x="187325" y="821772"/>
                        <a:pt x="187325" y="830632"/>
                      </a:cubicBezTo>
                      <a:cubicBezTo>
                        <a:pt x="187325" y="839493"/>
                        <a:pt x="180175" y="846138"/>
                        <a:pt x="172310" y="846138"/>
                      </a:cubicBezTo>
                      <a:cubicBezTo>
                        <a:pt x="172310" y="846138"/>
                        <a:pt x="172310" y="846138"/>
                        <a:pt x="15729" y="846138"/>
                      </a:cubicBezTo>
                      <a:cubicBezTo>
                        <a:pt x="7150" y="846138"/>
                        <a:pt x="0" y="839493"/>
                        <a:pt x="0" y="830632"/>
                      </a:cubicBezTo>
                      <a:cubicBezTo>
                        <a:pt x="0" y="821772"/>
                        <a:pt x="7150" y="814388"/>
                        <a:pt x="15729" y="814388"/>
                      </a:cubicBezTo>
                      <a:close/>
                      <a:moveTo>
                        <a:pt x="15772" y="755650"/>
                      </a:moveTo>
                      <a:cubicBezTo>
                        <a:pt x="15772" y="755650"/>
                        <a:pt x="15772" y="755650"/>
                        <a:pt x="296095" y="755650"/>
                      </a:cubicBezTo>
                      <a:cubicBezTo>
                        <a:pt x="303981" y="755650"/>
                        <a:pt x="311150" y="762665"/>
                        <a:pt x="311150" y="771082"/>
                      </a:cubicBezTo>
                      <a:cubicBezTo>
                        <a:pt x="311150" y="779500"/>
                        <a:pt x="303981" y="785813"/>
                        <a:pt x="296095" y="785813"/>
                      </a:cubicBezTo>
                      <a:cubicBezTo>
                        <a:pt x="296095" y="785813"/>
                        <a:pt x="296095" y="785813"/>
                        <a:pt x="15772" y="785813"/>
                      </a:cubicBezTo>
                      <a:cubicBezTo>
                        <a:pt x="7169" y="785813"/>
                        <a:pt x="0" y="779500"/>
                        <a:pt x="0" y="771082"/>
                      </a:cubicBezTo>
                      <a:cubicBezTo>
                        <a:pt x="0" y="762665"/>
                        <a:pt x="7169" y="755650"/>
                        <a:pt x="15772" y="755650"/>
                      </a:cubicBezTo>
                      <a:close/>
                      <a:moveTo>
                        <a:pt x="15795" y="695325"/>
                      </a:moveTo>
                      <a:cubicBezTo>
                        <a:pt x="15795" y="695325"/>
                        <a:pt x="15795" y="695325"/>
                        <a:pt x="269955" y="695325"/>
                      </a:cubicBezTo>
                      <a:cubicBezTo>
                        <a:pt x="278571" y="695325"/>
                        <a:pt x="285750" y="702340"/>
                        <a:pt x="285750" y="710757"/>
                      </a:cubicBezTo>
                      <a:cubicBezTo>
                        <a:pt x="285750" y="719876"/>
                        <a:pt x="278571" y="725488"/>
                        <a:pt x="269955" y="725488"/>
                      </a:cubicBezTo>
                      <a:cubicBezTo>
                        <a:pt x="269955" y="725488"/>
                        <a:pt x="269955" y="725488"/>
                        <a:pt x="15795" y="725488"/>
                      </a:cubicBezTo>
                      <a:cubicBezTo>
                        <a:pt x="7179" y="725488"/>
                        <a:pt x="0" y="719876"/>
                        <a:pt x="0" y="710757"/>
                      </a:cubicBezTo>
                      <a:cubicBezTo>
                        <a:pt x="0" y="702340"/>
                        <a:pt x="7179" y="695325"/>
                        <a:pt x="15795" y="695325"/>
                      </a:cubicBezTo>
                      <a:close/>
                      <a:moveTo>
                        <a:pt x="1022350" y="657225"/>
                      </a:moveTo>
                      <a:cubicBezTo>
                        <a:pt x="1023769" y="657225"/>
                        <a:pt x="1024479" y="657225"/>
                        <a:pt x="1025189" y="657941"/>
                      </a:cubicBezTo>
                      <a:cubicBezTo>
                        <a:pt x="1026609" y="657941"/>
                        <a:pt x="1027319" y="657941"/>
                        <a:pt x="1028029" y="658656"/>
                      </a:cubicBezTo>
                      <a:cubicBezTo>
                        <a:pt x="1028029" y="658656"/>
                        <a:pt x="1028029" y="658656"/>
                        <a:pt x="1028738" y="658656"/>
                      </a:cubicBezTo>
                      <a:cubicBezTo>
                        <a:pt x="1029448" y="658656"/>
                        <a:pt x="1030158" y="659372"/>
                        <a:pt x="1030868" y="659372"/>
                      </a:cubicBezTo>
                      <a:cubicBezTo>
                        <a:pt x="1032288" y="660087"/>
                        <a:pt x="1032998" y="660803"/>
                        <a:pt x="1033707" y="661519"/>
                      </a:cubicBezTo>
                      <a:cubicBezTo>
                        <a:pt x="1104693" y="733077"/>
                        <a:pt x="1104693" y="733077"/>
                        <a:pt x="1104693" y="733077"/>
                      </a:cubicBezTo>
                      <a:cubicBezTo>
                        <a:pt x="1109662" y="738801"/>
                        <a:pt x="1109662" y="748819"/>
                        <a:pt x="1104693" y="754544"/>
                      </a:cubicBezTo>
                      <a:cubicBezTo>
                        <a:pt x="1101854" y="757406"/>
                        <a:pt x="1097595" y="758837"/>
                        <a:pt x="1093336" y="758837"/>
                      </a:cubicBezTo>
                      <a:cubicBezTo>
                        <a:pt x="1089786" y="758837"/>
                        <a:pt x="1085527" y="757406"/>
                        <a:pt x="1082688" y="754544"/>
                      </a:cubicBezTo>
                      <a:cubicBezTo>
                        <a:pt x="1037967" y="709462"/>
                        <a:pt x="1037967" y="709462"/>
                        <a:pt x="1037967" y="709462"/>
                      </a:cubicBezTo>
                      <a:cubicBezTo>
                        <a:pt x="1037967" y="831111"/>
                        <a:pt x="1037967" y="831111"/>
                        <a:pt x="1037967" y="831111"/>
                      </a:cubicBezTo>
                      <a:cubicBezTo>
                        <a:pt x="1037967" y="839698"/>
                        <a:pt x="1030868" y="846138"/>
                        <a:pt x="1022350" y="846138"/>
                      </a:cubicBezTo>
                      <a:cubicBezTo>
                        <a:pt x="1014541" y="846138"/>
                        <a:pt x="1007443" y="839698"/>
                        <a:pt x="1007443" y="831111"/>
                      </a:cubicBezTo>
                      <a:cubicBezTo>
                        <a:pt x="1007443" y="709462"/>
                        <a:pt x="1007443" y="709462"/>
                        <a:pt x="1007443" y="709462"/>
                      </a:cubicBezTo>
                      <a:cubicBezTo>
                        <a:pt x="962722" y="754544"/>
                        <a:pt x="962722" y="754544"/>
                        <a:pt x="962722" y="754544"/>
                      </a:cubicBezTo>
                      <a:cubicBezTo>
                        <a:pt x="957043" y="760984"/>
                        <a:pt x="947105" y="760984"/>
                        <a:pt x="941426" y="754544"/>
                      </a:cubicBezTo>
                      <a:cubicBezTo>
                        <a:pt x="935037" y="748819"/>
                        <a:pt x="935037" y="738801"/>
                        <a:pt x="941426" y="733077"/>
                      </a:cubicBezTo>
                      <a:cubicBezTo>
                        <a:pt x="1012412" y="661519"/>
                        <a:pt x="1012412" y="661519"/>
                        <a:pt x="1012412" y="661519"/>
                      </a:cubicBezTo>
                      <a:cubicBezTo>
                        <a:pt x="1013122" y="660803"/>
                        <a:pt x="1013831" y="660087"/>
                        <a:pt x="1014541" y="659372"/>
                      </a:cubicBezTo>
                      <a:cubicBezTo>
                        <a:pt x="1015251" y="659372"/>
                        <a:pt x="1016671" y="658656"/>
                        <a:pt x="1016671" y="658656"/>
                      </a:cubicBezTo>
                      <a:cubicBezTo>
                        <a:pt x="1017381" y="657941"/>
                        <a:pt x="1018800" y="657941"/>
                        <a:pt x="1019510" y="657941"/>
                      </a:cubicBezTo>
                      <a:cubicBezTo>
                        <a:pt x="1020220" y="657225"/>
                        <a:pt x="1021640" y="657225"/>
                        <a:pt x="1022350" y="657225"/>
                      </a:cubicBezTo>
                      <a:close/>
                      <a:moveTo>
                        <a:pt x="198437" y="471488"/>
                      </a:moveTo>
                      <a:cubicBezTo>
                        <a:pt x="198437" y="471488"/>
                        <a:pt x="198437" y="471488"/>
                        <a:pt x="263525" y="471488"/>
                      </a:cubicBezTo>
                      <a:cubicBezTo>
                        <a:pt x="263525" y="471488"/>
                        <a:pt x="263525" y="471488"/>
                        <a:pt x="263525" y="505234"/>
                      </a:cubicBezTo>
                      <a:cubicBezTo>
                        <a:pt x="263525" y="513671"/>
                        <a:pt x="256373" y="520701"/>
                        <a:pt x="247790" y="520701"/>
                      </a:cubicBezTo>
                      <a:cubicBezTo>
                        <a:pt x="247790" y="520701"/>
                        <a:pt x="247790" y="520701"/>
                        <a:pt x="198437" y="520701"/>
                      </a:cubicBezTo>
                      <a:cubicBezTo>
                        <a:pt x="198437" y="520701"/>
                        <a:pt x="198437" y="520701"/>
                        <a:pt x="198437" y="471488"/>
                      </a:cubicBezTo>
                      <a:close/>
                      <a:moveTo>
                        <a:pt x="1587" y="471488"/>
                      </a:moveTo>
                      <a:cubicBezTo>
                        <a:pt x="1587" y="471488"/>
                        <a:pt x="1587" y="471488"/>
                        <a:pt x="166687" y="471488"/>
                      </a:cubicBezTo>
                      <a:cubicBezTo>
                        <a:pt x="166687" y="471488"/>
                        <a:pt x="166687" y="471488"/>
                        <a:pt x="166687" y="520701"/>
                      </a:cubicBezTo>
                      <a:cubicBezTo>
                        <a:pt x="166687" y="520701"/>
                        <a:pt x="166687" y="520701"/>
                        <a:pt x="17311" y="520701"/>
                      </a:cubicBezTo>
                      <a:cubicBezTo>
                        <a:pt x="8734" y="520701"/>
                        <a:pt x="1587" y="513671"/>
                        <a:pt x="1587" y="505234"/>
                      </a:cubicBezTo>
                      <a:cubicBezTo>
                        <a:pt x="1587" y="505234"/>
                        <a:pt x="1587" y="505234"/>
                        <a:pt x="1587" y="471488"/>
                      </a:cubicBezTo>
                      <a:close/>
                      <a:moveTo>
                        <a:pt x="198437" y="390525"/>
                      </a:moveTo>
                      <a:cubicBezTo>
                        <a:pt x="198437" y="390525"/>
                        <a:pt x="198437" y="390525"/>
                        <a:pt x="247790" y="390525"/>
                      </a:cubicBezTo>
                      <a:cubicBezTo>
                        <a:pt x="256373" y="390525"/>
                        <a:pt x="263525" y="397657"/>
                        <a:pt x="263525" y="406216"/>
                      </a:cubicBezTo>
                      <a:lnTo>
                        <a:pt x="263525" y="439738"/>
                      </a:lnTo>
                      <a:cubicBezTo>
                        <a:pt x="263525" y="439738"/>
                        <a:pt x="263525" y="439738"/>
                        <a:pt x="198437" y="439738"/>
                      </a:cubicBezTo>
                      <a:cubicBezTo>
                        <a:pt x="198437" y="439738"/>
                        <a:pt x="198437" y="439738"/>
                        <a:pt x="198437" y="390525"/>
                      </a:cubicBezTo>
                      <a:close/>
                      <a:moveTo>
                        <a:pt x="17311" y="390525"/>
                      </a:moveTo>
                      <a:cubicBezTo>
                        <a:pt x="17311" y="390525"/>
                        <a:pt x="17311" y="390525"/>
                        <a:pt x="166687" y="390525"/>
                      </a:cubicBezTo>
                      <a:lnTo>
                        <a:pt x="166687" y="439738"/>
                      </a:lnTo>
                      <a:cubicBezTo>
                        <a:pt x="166687" y="439738"/>
                        <a:pt x="166687" y="439738"/>
                        <a:pt x="1587" y="439738"/>
                      </a:cubicBezTo>
                      <a:cubicBezTo>
                        <a:pt x="1587" y="439738"/>
                        <a:pt x="1587" y="439738"/>
                        <a:pt x="1587" y="406216"/>
                      </a:cubicBezTo>
                      <a:cubicBezTo>
                        <a:pt x="1587" y="397657"/>
                        <a:pt x="8734" y="390525"/>
                        <a:pt x="17311" y="390525"/>
                      </a:cubicBezTo>
                      <a:close/>
                      <a:moveTo>
                        <a:pt x="439737" y="0"/>
                      </a:moveTo>
                      <a:cubicBezTo>
                        <a:pt x="439737" y="0"/>
                        <a:pt x="439737" y="0"/>
                        <a:pt x="446857" y="0"/>
                      </a:cubicBezTo>
                      <a:lnTo>
                        <a:pt x="667568" y="0"/>
                      </a:lnTo>
                      <a:cubicBezTo>
                        <a:pt x="667568" y="0"/>
                        <a:pt x="667568" y="0"/>
                        <a:pt x="674687" y="0"/>
                      </a:cubicBezTo>
                      <a:cubicBezTo>
                        <a:pt x="674687" y="0"/>
                        <a:pt x="674687" y="6382"/>
                        <a:pt x="674687" y="30490"/>
                      </a:cubicBezTo>
                      <a:cubicBezTo>
                        <a:pt x="674687" y="58145"/>
                        <a:pt x="674687" y="109908"/>
                        <a:pt x="674687" y="204216"/>
                      </a:cubicBezTo>
                      <a:cubicBezTo>
                        <a:pt x="674687" y="207761"/>
                        <a:pt x="671839" y="209179"/>
                        <a:pt x="668991" y="209179"/>
                      </a:cubicBezTo>
                      <a:cubicBezTo>
                        <a:pt x="668280" y="209179"/>
                        <a:pt x="667568" y="209179"/>
                        <a:pt x="666144" y="208470"/>
                      </a:cubicBezTo>
                      <a:cubicBezTo>
                        <a:pt x="666144" y="208470"/>
                        <a:pt x="666144" y="208470"/>
                        <a:pt x="641225" y="194998"/>
                      </a:cubicBezTo>
                      <a:cubicBezTo>
                        <a:pt x="640513" y="194289"/>
                        <a:pt x="639801" y="194289"/>
                        <a:pt x="638377" y="194289"/>
                      </a:cubicBezTo>
                      <a:cubicBezTo>
                        <a:pt x="637665" y="194289"/>
                        <a:pt x="636241" y="194289"/>
                        <a:pt x="635529" y="194998"/>
                      </a:cubicBezTo>
                      <a:cubicBezTo>
                        <a:pt x="635529" y="194998"/>
                        <a:pt x="635529" y="194998"/>
                        <a:pt x="603490" y="212016"/>
                      </a:cubicBezTo>
                      <a:cubicBezTo>
                        <a:pt x="602778" y="212016"/>
                        <a:pt x="601354" y="212725"/>
                        <a:pt x="600642" y="212725"/>
                      </a:cubicBezTo>
                      <a:cubicBezTo>
                        <a:pt x="599930" y="212725"/>
                        <a:pt x="598506" y="212016"/>
                        <a:pt x="597795" y="212016"/>
                      </a:cubicBezTo>
                      <a:cubicBezTo>
                        <a:pt x="597795" y="212016"/>
                        <a:pt x="597795" y="212016"/>
                        <a:pt x="560060" y="194998"/>
                      </a:cubicBezTo>
                      <a:cubicBezTo>
                        <a:pt x="558636" y="194289"/>
                        <a:pt x="557924" y="194289"/>
                        <a:pt x="557212" y="194289"/>
                      </a:cubicBezTo>
                      <a:cubicBezTo>
                        <a:pt x="556500" y="194289"/>
                        <a:pt x="555076" y="194289"/>
                        <a:pt x="554364" y="194998"/>
                      </a:cubicBezTo>
                      <a:cubicBezTo>
                        <a:pt x="554364" y="194998"/>
                        <a:pt x="554364" y="194998"/>
                        <a:pt x="517342" y="212016"/>
                      </a:cubicBezTo>
                      <a:cubicBezTo>
                        <a:pt x="516630" y="212016"/>
                        <a:pt x="515918" y="212725"/>
                        <a:pt x="515206" y="212725"/>
                      </a:cubicBezTo>
                      <a:cubicBezTo>
                        <a:pt x="513782" y="212725"/>
                        <a:pt x="513070" y="212016"/>
                        <a:pt x="511646" y="212016"/>
                      </a:cubicBezTo>
                      <a:cubicBezTo>
                        <a:pt x="511646" y="212016"/>
                        <a:pt x="511646" y="212016"/>
                        <a:pt x="478896" y="194998"/>
                      </a:cubicBezTo>
                      <a:cubicBezTo>
                        <a:pt x="478896" y="194289"/>
                        <a:pt x="477472" y="194289"/>
                        <a:pt x="476760" y="194289"/>
                      </a:cubicBezTo>
                      <a:cubicBezTo>
                        <a:pt x="475336" y="194289"/>
                        <a:pt x="474624" y="194289"/>
                        <a:pt x="473912" y="194998"/>
                      </a:cubicBezTo>
                      <a:cubicBezTo>
                        <a:pt x="473912" y="194998"/>
                        <a:pt x="473912" y="194998"/>
                        <a:pt x="448281" y="208470"/>
                      </a:cubicBezTo>
                      <a:cubicBezTo>
                        <a:pt x="446857" y="209179"/>
                        <a:pt x="446145" y="209179"/>
                        <a:pt x="444721" y="209179"/>
                      </a:cubicBezTo>
                      <a:cubicBezTo>
                        <a:pt x="441873" y="209179"/>
                        <a:pt x="439737" y="207761"/>
                        <a:pt x="439737" y="204216"/>
                      </a:cubicBezTo>
                      <a:cubicBezTo>
                        <a:pt x="439737" y="204216"/>
                        <a:pt x="439737" y="204216"/>
                        <a:pt x="439737" y="30490"/>
                      </a:cubicBezTo>
                      <a:cubicBezTo>
                        <a:pt x="439737" y="30490"/>
                        <a:pt x="439737" y="30490"/>
                        <a:pt x="439737" y="0"/>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grpSp>
        </p:grpSp>
      </p:grpSp>
      <p:cxnSp>
        <p:nvCxnSpPr>
          <p:cNvPr id="63" name="Straight Connector 62">
            <a:extLst>
              <a:ext uri="{FF2B5EF4-FFF2-40B4-BE49-F238E27FC236}">
                <a16:creationId xmlns:a16="http://schemas.microsoft.com/office/drawing/2014/main" id="{D44B64F5-7000-4FA2-B2C2-D5BA4A5A9D76}"/>
              </a:ext>
            </a:extLst>
          </p:cNvPr>
          <p:cNvCxnSpPr>
            <a:stCxn id="60" idx="6"/>
          </p:cNvCxnSpPr>
          <p:nvPr/>
        </p:nvCxnSpPr>
        <p:spPr bwMode="auto">
          <a:xfrm flipH="1">
            <a:off x="1078329" y="1632887"/>
            <a:ext cx="9422" cy="2678879"/>
          </a:xfrm>
          <a:prstGeom prst="line">
            <a:avLst/>
          </a:prstGeom>
          <a:noFill/>
          <a:ln w="9525" cap="flat" cmpd="sng" algn="ctr">
            <a:solidFill>
              <a:srgbClr val="4C789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6" name="Straight Connector 65">
            <a:extLst>
              <a:ext uri="{FF2B5EF4-FFF2-40B4-BE49-F238E27FC236}">
                <a16:creationId xmlns:a16="http://schemas.microsoft.com/office/drawing/2014/main" id="{BDC5CF72-9F73-4D95-892A-5F23BA053093}"/>
              </a:ext>
            </a:extLst>
          </p:cNvPr>
          <p:cNvCxnSpPr/>
          <p:nvPr/>
        </p:nvCxnSpPr>
        <p:spPr bwMode="auto">
          <a:xfrm flipH="1">
            <a:off x="5363694" y="1632887"/>
            <a:ext cx="9422" cy="2678879"/>
          </a:xfrm>
          <a:prstGeom prst="line">
            <a:avLst/>
          </a:prstGeom>
          <a:noFill/>
          <a:ln w="9525" cap="flat" cmpd="sng" algn="ctr">
            <a:solidFill>
              <a:srgbClr val="4C7895"/>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9" name="ee4pFootnotes">
            <a:extLst>
              <a:ext uri="{FF2B5EF4-FFF2-40B4-BE49-F238E27FC236}">
                <a16:creationId xmlns:a16="http://schemas.microsoft.com/office/drawing/2014/main" id="{1B55647D-8E12-480F-9E99-9C7B74838288}"/>
              </a:ext>
            </a:extLst>
          </p:cNvPr>
          <p:cNvSpPr>
            <a:spLocks noChangeArrowheads="1"/>
          </p:cNvSpPr>
          <p:nvPr/>
        </p:nvSpPr>
        <p:spPr bwMode="auto">
          <a:xfrm>
            <a:off x="472500" y="4743428"/>
            <a:ext cx="7555884" cy="96950"/>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de-DE" sz="700" dirty="0">
                <a:solidFill>
                  <a:srgbClr val="898989"/>
                </a:solidFill>
                <a:latin typeface="+mn-lt"/>
                <a:cs typeface="+mn-cs"/>
                <a:sym typeface="Novel Sans Pro" panose="02000000000000000000" pitchFamily="50" charset="0"/>
              </a:rPr>
              <a:t>1. Führerschein für entsprechende Fahrzeuge ausgenommen</a:t>
            </a:r>
          </a:p>
        </p:txBody>
      </p:sp>
    </p:spTree>
    <p:extLst>
      <p:ext uri="{BB962C8B-B14F-4D97-AF65-F5344CB8AC3E}">
        <p14:creationId xmlns:p14="http://schemas.microsoft.com/office/powerpoint/2010/main" val="11011342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38F66A2-39D8-41B5-90ED-7D218EF62CBC}"/>
              </a:ext>
            </a:extLst>
          </p:cNvPr>
          <p:cNvGraphicFramePr>
            <a:graphicFrameLocks noChangeAspect="1"/>
          </p:cNvGraphicFramePr>
          <p:nvPr>
            <p:custDataLst>
              <p:tags r:id="rId2"/>
            </p:custDataLst>
            <p:extLst>
              <p:ext uri="{D42A27DB-BD31-4B8C-83A1-F6EECF244321}">
                <p14:modId xmlns:p14="http://schemas.microsoft.com/office/powerpoint/2010/main" val="348485861"/>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3756" name="think-cell Slide" r:id="rId4" imgW="592" imgH="595" progId="TCLayout.ActiveDocument.1">
                  <p:embed/>
                </p:oleObj>
              </mc:Choice>
              <mc:Fallback>
                <p:oleObj name="think-cell Slide" r:id="rId4" imgW="592" imgH="595" progId="TCLayout.ActiveDocument.1">
                  <p:embed/>
                  <p:pic>
                    <p:nvPicPr>
                      <p:cNvPr id="8" name="Object 7" hidden="1">
                        <a:extLst>
                          <a:ext uri="{FF2B5EF4-FFF2-40B4-BE49-F238E27FC236}">
                            <a16:creationId xmlns:a16="http://schemas.microsoft.com/office/drawing/2014/main" id="{F38F66A2-39D8-41B5-90ED-7D218EF62CBC}"/>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650FF61-66D4-4723-8FAA-7F98EAF77C7E}"/>
              </a:ext>
            </a:extLst>
          </p:cNvPr>
          <p:cNvSpPr>
            <a:spLocks noGrp="1"/>
          </p:cNvSpPr>
          <p:nvPr>
            <p:ph type="title"/>
          </p:nvPr>
        </p:nvSpPr>
        <p:spPr/>
        <p:txBody>
          <a:bodyPr vert="horz"/>
          <a:lstStyle/>
          <a:p>
            <a:r>
              <a:rPr lang="de-DE" spc="-23" dirty="0"/>
              <a:t>Verpackung muss Anforderungen an Verpackungsanweisung P650 erfüllen </a:t>
            </a:r>
          </a:p>
        </p:txBody>
      </p:sp>
      <p:sp>
        <p:nvSpPr>
          <p:cNvPr id="33" name="ee4pHeader1">
            <a:extLst>
              <a:ext uri="{FF2B5EF4-FFF2-40B4-BE49-F238E27FC236}">
                <a16:creationId xmlns:a16="http://schemas.microsoft.com/office/drawing/2014/main" id="{D390B5C2-F62E-4DBC-9AB4-62AD28969447}"/>
              </a:ext>
            </a:extLst>
          </p:cNvPr>
          <p:cNvSpPr txBox="1"/>
          <p:nvPr/>
        </p:nvSpPr>
        <p:spPr>
          <a:xfrm>
            <a:off x="472500" y="1212301"/>
            <a:ext cx="4603556" cy="493776"/>
          </a:xfrm>
          <a:prstGeom prst="rect">
            <a:avLst/>
          </a:prstGeom>
          <a:noFill/>
          <a:ln cap="rnd">
            <a:noFill/>
          </a:ln>
        </p:spPr>
        <p:txBody>
          <a:bodyPr vert="horz" wrap="square" lIns="0" tIns="0" rIns="0" bIns="0" rtlCol="0" anchor="b" anchorCtr="0">
            <a:noAutofit/>
          </a:bodyPr>
          <a:lstStyle/>
          <a:p>
            <a:pPr marL="0" lvl="3"/>
            <a:r>
              <a:rPr lang="de-DE" i="1" dirty="0">
                <a:solidFill>
                  <a:srgbClr val="0A4E78"/>
                </a:solidFill>
                <a:latin typeface="Arial" panose="020B0604020202020204" pitchFamily="34" charset="0"/>
              </a:rPr>
              <a:t>        Anforderungen gemäß P650 - Auswahl</a:t>
            </a:r>
          </a:p>
        </p:txBody>
      </p:sp>
      <p:grpSp>
        <p:nvGrpSpPr>
          <p:cNvPr id="16" name="Group 15">
            <a:extLst>
              <a:ext uri="{FF2B5EF4-FFF2-40B4-BE49-F238E27FC236}">
                <a16:creationId xmlns:a16="http://schemas.microsoft.com/office/drawing/2014/main" id="{20D88D6C-57C9-40E2-AE35-3E7B97AE397B}"/>
              </a:ext>
            </a:extLst>
          </p:cNvPr>
          <p:cNvGrpSpPr/>
          <p:nvPr/>
        </p:nvGrpSpPr>
        <p:grpSpPr>
          <a:xfrm>
            <a:off x="472500" y="1898156"/>
            <a:ext cx="7915924" cy="392415"/>
            <a:chOff x="472500" y="1898156"/>
            <a:chExt cx="7915924" cy="392415"/>
          </a:xfrm>
        </p:grpSpPr>
        <p:sp>
          <p:nvSpPr>
            <p:cNvPr id="21" name="Rectangle 20">
              <a:extLst>
                <a:ext uri="{FF2B5EF4-FFF2-40B4-BE49-F238E27FC236}">
                  <a16:creationId xmlns:a16="http://schemas.microsoft.com/office/drawing/2014/main" id="{8DEE1551-2FB7-47EF-B655-E22D31D24A81}"/>
                </a:ext>
              </a:extLst>
            </p:cNvPr>
            <p:cNvSpPr/>
            <p:nvPr/>
          </p:nvSpPr>
          <p:spPr>
            <a:xfrm>
              <a:off x="1903271" y="1898156"/>
              <a:ext cx="6485153" cy="3924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spcAft>
                  <a:spcPts val="450"/>
                </a:spcAft>
              </a:pPr>
              <a:r>
                <a:rPr lang="de-DE" sz="1050" spc="-15" dirty="0">
                  <a:solidFill>
                    <a:srgbClr val="0A4E78"/>
                  </a:solidFill>
                  <a:latin typeface="+mj-lt"/>
                  <a:sym typeface="Trebuchet MS" panose="020B0603020202020204" pitchFamily="34" charset="0"/>
                </a:rPr>
                <a:t>Diagnostische Proben sind in </a:t>
              </a:r>
              <a:r>
                <a:rPr lang="de-DE" sz="1050" b="1" spc="-15" dirty="0">
                  <a:solidFill>
                    <a:srgbClr val="0A4E78"/>
                  </a:solidFill>
                  <a:latin typeface="+mj-lt"/>
                  <a:sym typeface="Trebuchet MS" panose="020B0603020202020204" pitchFamily="34" charset="0"/>
                </a:rPr>
                <a:t>Verpackungen guter Qualität </a:t>
              </a:r>
              <a:r>
                <a:rPr lang="de-DE" sz="1050" spc="-15" dirty="0">
                  <a:solidFill>
                    <a:srgbClr val="0A4E78"/>
                  </a:solidFill>
                  <a:latin typeface="+mj-lt"/>
                  <a:sym typeface="Trebuchet MS" panose="020B0603020202020204" pitchFamily="34" charset="0"/>
                </a:rPr>
                <a:t>zu verpacken, die </a:t>
              </a:r>
              <a:r>
                <a:rPr lang="de-DE" sz="1050" b="1" spc="-15" dirty="0">
                  <a:solidFill>
                    <a:srgbClr val="0A4E78"/>
                  </a:solidFill>
                  <a:latin typeface="+mj-lt"/>
                  <a:sym typeface="Trebuchet MS" panose="020B0603020202020204" pitchFamily="34" charset="0"/>
                </a:rPr>
                <a:t>genügend widerstandsfähig</a:t>
              </a:r>
              <a:r>
                <a:rPr lang="de-DE" sz="1050" spc="-15" dirty="0">
                  <a:solidFill>
                    <a:srgbClr val="0A4E78"/>
                  </a:solidFill>
                  <a:latin typeface="+mj-lt"/>
                  <a:sym typeface="Trebuchet MS" panose="020B0603020202020204" pitchFamily="34" charset="0"/>
                </a:rPr>
                <a:t> sein müssen, dass sie den </a:t>
              </a:r>
              <a:r>
                <a:rPr lang="de-DE" sz="1050" b="1" spc="-15" dirty="0">
                  <a:solidFill>
                    <a:srgbClr val="0A4E78"/>
                  </a:solidFill>
                  <a:latin typeface="+mj-lt"/>
                  <a:sym typeface="Trebuchet MS" panose="020B0603020202020204" pitchFamily="34" charset="0"/>
                </a:rPr>
                <a:t>Stößen und Belastungen</a:t>
              </a:r>
              <a:r>
                <a:rPr lang="de-DE" sz="1050" spc="-15" dirty="0">
                  <a:solidFill>
                    <a:srgbClr val="0A4E78"/>
                  </a:solidFill>
                  <a:latin typeface="+mj-lt"/>
                  <a:sym typeface="Trebuchet MS" panose="020B0603020202020204" pitchFamily="34" charset="0"/>
                </a:rPr>
                <a:t>, die unter </a:t>
              </a:r>
              <a:r>
                <a:rPr lang="de-DE" sz="1050" b="1" spc="-15" dirty="0">
                  <a:solidFill>
                    <a:srgbClr val="0A4E78"/>
                  </a:solidFill>
                  <a:latin typeface="+mj-lt"/>
                  <a:sym typeface="Trebuchet MS" panose="020B0603020202020204" pitchFamily="34" charset="0"/>
                </a:rPr>
                <a:t>normalen Beförderungsbedingungen</a:t>
              </a:r>
              <a:r>
                <a:rPr lang="de-DE" sz="1050" spc="-15" dirty="0">
                  <a:solidFill>
                    <a:srgbClr val="0A4E78"/>
                  </a:solidFill>
                  <a:latin typeface="+mj-lt"/>
                  <a:sym typeface="Trebuchet MS" panose="020B0603020202020204" pitchFamily="34" charset="0"/>
                </a:rPr>
                <a:t> auftreten können, standhalten.</a:t>
              </a:r>
              <a:endParaRPr lang="de-DE" sz="1200" dirty="0">
                <a:solidFill>
                  <a:srgbClr val="0A4E78"/>
                </a:solidFill>
                <a:latin typeface="+mj-lt"/>
                <a:sym typeface="Trebuchet MS" panose="020B0603020202020204" pitchFamily="34" charset="0"/>
              </a:endParaRPr>
            </a:p>
          </p:txBody>
        </p:sp>
        <p:sp>
          <p:nvSpPr>
            <p:cNvPr id="12" name="Rectangle 11">
              <a:extLst>
                <a:ext uri="{FF2B5EF4-FFF2-40B4-BE49-F238E27FC236}">
                  <a16:creationId xmlns:a16="http://schemas.microsoft.com/office/drawing/2014/main" id="{63446D10-3E52-4DA2-AFB6-6EA876F36500}"/>
                </a:ext>
              </a:extLst>
            </p:cNvPr>
            <p:cNvSpPr/>
            <p:nvPr/>
          </p:nvSpPr>
          <p:spPr>
            <a:xfrm>
              <a:off x="472500" y="1898159"/>
              <a:ext cx="1206227" cy="392410"/>
            </a:xfrm>
            <a:prstGeom prst="rect">
              <a:avLst/>
            </a:prstGeom>
            <a:noFill/>
            <a:ln w="9525" cap="rnd" cmpd="sng" algn="ctr">
              <a:solidFill>
                <a:srgbClr val="003064"/>
              </a:solidFill>
              <a:prstDash val="solid"/>
              <a:round/>
              <a:headEnd type="none" w="med" len="med"/>
              <a:tailEnd type="none" w="med" len="med"/>
            </a:ln>
            <a:extLst>
              <a:ext uri="{909E8E84-426E-40DD-AFC4-6F175D3DCCD1}">
                <a14:hiddenFill xmlns:a14="http://schemas.microsoft.com/office/drawing/2010/main">
                  <a:solidFill>
                    <a:srgbClr val="2268A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1200" dirty="0">
                  <a:solidFill>
                    <a:srgbClr val="003064"/>
                  </a:solidFill>
                </a:rPr>
                <a:t>Widerstands-fähigkeit</a:t>
              </a:r>
            </a:p>
          </p:txBody>
        </p:sp>
      </p:grpSp>
      <p:grpSp>
        <p:nvGrpSpPr>
          <p:cNvPr id="15" name="Group 14">
            <a:extLst>
              <a:ext uri="{FF2B5EF4-FFF2-40B4-BE49-F238E27FC236}">
                <a16:creationId xmlns:a16="http://schemas.microsoft.com/office/drawing/2014/main" id="{CD2EB8A4-BC50-47A6-A2D7-6024E2B1DEAD}"/>
              </a:ext>
            </a:extLst>
          </p:cNvPr>
          <p:cNvGrpSpPr/>
          <p:nvPr/>
        </p:nvGrpSpPr>
        <p:grpSpPr>
          <a:xfrm>
            <a:off x="472500" y="2482949"/>
            <a:ext cx="7915924" cy="392415"/>
            <a:chOff x="472500" y="2477697"/>
            <a:chExt cx="7915924" cy="392415"/>
          </a:xfrm>
        </p:grpSpPr>
        <p:sp>
          <p:nvSpPr>
            <p:cNvPr id="35" name="Rectangle 34">
              <a:extLst>
                <a:ext uri="{FF2B5EF4-FFF2-40B4-BE49-F238E27FC236}">
                  <a16:creationId xmlns:a16="http://schemas.microsoft.com/office/drawing/2014/main" id="{6C71382F-A0C3-4845-8A33-8546FAED5F64}"/>
                </a:ext>
              </a:extLst>
            </p:cNvPr>
            <p:cNvSpPr/>
            <p:nvPr/>
          </p:nvSpPr>
          <p:spPr>
            <a:xfrm>
              <a:off x="1903271" y="2477697"/>
              <a:ext cx="6485153" cy="3924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spcAft>
                  <a:spcPts val="450"/>
                </a:spcAft>
              </a:pPr>
              <a:r>
                <a:rPr lang="de-DE" sz="1050" spc="-15" dirty="0">
                  <a:solidFill>
                    <a:srgbClr val="0A4E78"/>
                  </a:solidFill>
                  <a:latin typeface="+mj-lt"/>
                  <a:sym typeface="Trebuchet MS" panose="020B0603020202020204" pitchFamily="34" charset="0"/>
                </a:rPr>
                <a:t>Verpackungen müssen so </a:t>
              </a:r>
              <a:r>
                <a:rPr lang="de-DE" sz="1050" b="1" spc="-15" dirty="0">
                  <a:solidFill>
                    <a:srgbClr val="0A4E78"/>
                  </a:solidFill>
                  <a:latin typeface="+mj-lt"/>
                  <a:sym typeface="Trebuchet MS" panose="020B0603020202020204" pitchFamily="34" charset="0"/>
                </a:rPr>
                <a:t>gebaut und verschlossen </a:t>
              </a:r>
              <a:r>
                <a:rPr lang="de-DE" sz="1050" spc="-15" dirty="0">
                  <a:solidFill>
                    <a:srgbClr val="0A4E78"/>
                  </a:solidFill>
                  <a:latin typeface="+mj-lt"/>
                  <a:sym typeface="Trebuchet MS" panose="020B0603020202020204" pitchFamily="34" charset="0"/>
                </a:rPr>
                <a:t>sein, dass unter </a:t>
              </a:r>
              <a:r>
                <a:rPr lang="de-DE" sz="1050" b="1" spc="-15" dirty="0">
                  <a:solidFill>
                    <a:srgbClr val="0A4E78"/>
                  </a:solidFill>
                  <a:latin typeface="+mj-lt"/>
                  <a:sym typeface="Trebuchet MS" panose="020B0603020202020204" pitchFamily="34" charset="0"/>
                </a:rPr>
                <a:t>normalen Beförderungsbedingungen </a:t>
              </a:r>
              <a:r>
                <a:rPr lang="de-DE" sz="1050" spc="-15" dirty="0">
                  <a:solidFill>
                    <a:srgbClr val="0A4E78"/>
                  </a:solidFill>
                  <a:latin typeface="+mj-lt"/>
                  <a:sym typeface="Trebuchet MS" panose="020B0603020202020204" pitchFamily="34" charset="0"/>
                </a:rPr>
                <a:t>ein Austreten des Inhalts infolge von </a:t>
              </a:r>
              <a:r>
                <a:rPr lang="de-DE" sz="1050" b="1" spc="-15" dirty="0">
                  <a:solidFill>
                    <a:srgbClr val="0A4E78"/>
                  </a:solidFill>
                  <a:latin typeface="+mj-lt"/>
                  <a:sym typeface="Trebuchet MS" panose="020B0603020202020204" pitchFamily="34" charset="0"/>
                </a:rPr>
                <a:t>Vibration, Temperaturwechsel, Feuchtigkeits- und Druckänderung </a:t>
              </a:r>
              <a:r>
                <a:rPr lang="de-DE" sz="1050" spc="-15" dirty="0">
                  <a:solidFill>
                    <a:srgbClr val="0A4E78"/>
                  </a:solidFill>
                  <a:latin typeface="+mj-lt"/>
                  <a:sym typeface="Trebuchet MS" panose="020B0603020202020204" pitchFamily="34" charset="0"/>
                </a:rPr>
                <a:t>verhindert wird.</a:t>
              </a:r>
              <a:endParaRPr lang="de-DE" sz="1200" dirty="0">
                <a:solidFill>
                  <a:srgbClr val="0A4E78"/>
                </a:solidFill>
                <a:latin typeface="+mj-lt"/>
                <a:sym typeface="Trebuchet MS" panose="020B0603020202020204" pitchFamily="34" charset="0"/>
              </a:endParaRPr>
            </a:p>
          </p:txBody>
        </p:sp>
        <p:sp>
          <p:nvSpPr>
            <p:cNvPr id="32" name="Rectangle 31">
              <a:extLst>
                <a:ext uri="{FF2B5EF4-FFF2-40B4-BE49-F238E27FC236}">
                  <a16:creationId xmlns:a16="http://schemas.microsoft.com/office/drawing/2014/main" id="{A954A071-AF51-4723-872D-20BF867CE33E}"/>
                </a:ext>
              </a:extLst>
            </p:cNvPr>
            <p:cNvSpPr/>
            <p:nvPr/>
          </p:nvSpPr>
          <p:spPr>
            <a:xfrm>
              <a:off x="472500" y="2477700"/>
              <a:ext cx="1206227" cy="392410"/>
            </a:xfrm>
            <a:prstGeom prst="rect">
              <a:avLst/>
            </a:prstGeom>
            <a:noFill/>
            <a:ln w="9525" cap="rnd" cmpd="sng" algn="ctr">
              <a:solidFill>
                <a:srgbClr val="003064"/>
              </a:solidFill>
              <a:prstDash val="solid"/>
              <a:round/>
              <a:headEnd type="none" w="med" len="med"/>
              <a:tailEnd type="none" w="med" len="med"/>
            </a:ln>
            <a:extLst>
              <a:ext uri="{909E8E84-426E-40DD-AFC4-6F175D3DCCD1}">
                <a14:hiddenFill xmlns:a14="http://schemas.microsoft.com/office/drawing/2010/main">
                  <a:solidFill>
                    <a:srgbClr val="2268A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1200" dirty="0">
                  <a:solidFill>
                    <a:srgbClr val="003064"/>
                  </a:solidFill>
                </a:rPr>
                <a:t>Auslaufschutz</a:t>
              </a:r>
            </a:p>
          </p:txBody>
        </p:sp>
      </p:grpSp>
      <p:grpSp>
        <p:nvGrpSpPr>
          <p:cNvPr id="13" name="Group 12">
            <a:extLst>
              <a:ext uri="{FF2B5EF4-FFF2-40B4-BE49-F238E27FC236}">
                <a16:creationId xmlns:a16="http://schemas.microsoft.com/office/drawing/2014/main" id="{D76D37D1-FBEE-41BB-B44F-6A1889429788}"/>
              </a:ext>
            </a:extLst>
          </p:cNvPr>
          <p:cNvGrpSpPr/>
          <p:nvPr/>
        </p:nvGrpSpPr>
        <p:grpSpPr>
          <a:xfrm>
            <a:off x="472500" y="3814115"/>
            <a:ext cx="7915924" cy="392415"/>
            <a:chOff x="472500" y="3486071"/>
            <a:chExt cx="7915924" cy="392415"/>
          </a:xfrm>
        </p:grpSpPr>
        <p:sp>
          <p:nvSpPr>
            <p:cNvPr id="36" name="Rectangle 35">
              <a:extLst>
                <a:ext uri="{FF2B5EF4-FFF2-40B4-BE49-F238E27FC236}">
                  <a16:creationId xmlns:a16="http://schemas.microsoft.com/office/drawing/2014/main" id="{7EBA1C3D-7D1B-4F8C-B05D-6D48EF65F55B}"/>
                </a:ext>
              </a:extLst>
            </p:cNvPr>
            <p:cNvSpPr/>
            <p:nvPr/>
          </p:nvSpPr>
          <p:spPr>
            <a:xfrm>
              <a:off x="1903271" y="3486071"/>
              <a:ext cx="6485153" cy="3924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a:spcAft>
                  <a:spcPts val="450"/>
                </a:spcAft>
              </a:pPr>
              <a:r>
                <a:rPr lang="de-DE" sz="1050" dirty="0">
                  <a:solidFill>
                    <a:srgbClr val="0A4E78"/>
                  </a:solidFill>
                  <a:latin typeface="+mj-lt"/>
                  <a:sym typeface="Trebuchet MS" panose="020B0603020202020204" pitchFamily="34" charset="0"/>
                </a:rPr>
                <a:t>Jedes Versandstück ist für die Beförderung deutlich und dauerhaft mit dem Vermerk </a:t>
              </a:r>
              <a:r>
                <a:rPr lang="de-DE" sz="1050" b="1" dirty="0">
                  <a:solidFill>
                    <a:srgbClr val="0A4E78"/>
                  </a:solidFill>
                  <a:latin typeface="+mj-lt"/>
                  <a:sym typeface="Trebuchet MS" panose="020B0603020202020204" pitchFamily="34" charset="0"/>
                </a:rPr>
                <a:t>"BIOLOGISCHER STOFF, KATEGORIE B“ </a:t>
              </a:r>
              <a:r>
                <a:rPr lang="de-DE" sz="1050" dirty="0">
                  <a:solidFill>
                    <a:srgbClr val="0A4E78"/>
                  </a:solidFill>
                  <a:latin typeface="+mj-lt"/>
                  <a:sym typeface="Trebuchet MS" panose="020B0603020202020204" pitchFamily="34" charset="0"/>
                </a:rPr>
                <a:t>sowie einem</a:t>
              </a:r>
              <a:r>
                <a:rPr lang="de-DE" sz="1050" b="1" dirty="0">
                  <a:solidFill>
                    <a:srgbClr val="0A4E78"/>
                  </a:solidFill>
                  <a:latin typeface="+mj-lt"/>
                  <a:sym typeface="Trebuchet MS" panose="020B0603020202020204" pitchFamily="34" charset="0"/>
                </a:rPr>
                <a:t> "UN 3373 Kennzeichen" </a:t>
              </a:r>
              <a:r>
                <a:rPr lang="de-DE" sz="1050" dirty="0">
                  <a:solidFill>
                    <a:srgbClr val="0A4E78"/>
                  </a:solidFill>
                  <a:latin typeface="+mj-lt"/>
                  <a:sym typeface="Trebuchet MS" panose="020B0603020202020204" pitchFamily="34" charset="0"/>
                </a:rPr>
                <a:t>zu kennzeichnen.</a:t>
              </a:r>
              <a:endParaRPr lang="de-DE" sz="1200" dirty="0">
                <a:solidFill>
                  <a:srgbClr val="0A4E78"/>
                </a:solidFill>
                <a:latin typeface="+mj-lt"/>
                <a:sym typeface="Trebuchet MS" panose="020B0603020202020204" pitchFamily="34" charset="0"/>
              </a:endParaRPr>
            </a:p>
          </p:txBody>
        </p:sp>
        <p:sp>
          <p:nvSpPr>
            <p:cNvPr id="34" name="Rectangle 33">
              <a:extLst>
                <a:ext uri="{FF2B5EF4-FFF2-40B4-BE49-F238E27FC236}">
                  <a16:creationId xmlns:a16="http://schemas.microsoft.com/office/drawing/2014/main" id="{862FA427-DB65-4273-9328-29F6C05D3830}"/>
                </a:ext>
              </a:extLst>
            </p:cNvPr>
            <p:cNvSpPr/>
            <p:nvPr/>
          </p:nvSpPr>
          <p:spPr>
            <a:xfrm>
              <a:off x="472500" y="3486073"/>
              <a:ext cx="1206227" cy="392410"/>
            </a:xfrm>
            <a:prstGeom prst="rect">
              <a:avLst/>
            </a:prstGeom>
            <a:noFill/>
            <a:ln w="9525" cap="rnd" cmpd="sng" algn="ctr">
              <a:solidFill>
                <a:srgbClr val="003064"/>
              </a:solidFill>
              <a:prstDash val="solid"/>
              <a:round/>
              <a:headEnd type="none" w="med" len="med"/>
              <a:tailEnd type="none" w="med" len="med"/>
            </a:ln>
            <a:extLst>
              <a:ext uri="{909E8E84-426E-40DD-AFC4-6F175D3DCCD1}">
                <a14:hiddenFill xmlns:a14="http://schemas.microsoft.com/office/drawing/2010/main">
                  <a:solidFill>
                    <a:srgbClr val="2268A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1200" dirty="0">
                  <a:solidFill>
                    <a:srgbClr val="003064"/>
                  </a:solidFill>
                </a:rPr>
                <a:t>Labelling</a:t>
              </a:r>
            </a:p>
          </p:txBody>
        </p:sp>
      </p:grpSp>
      <p:cxnSp>
        <p:nvCxnSpPr>
          <p:cNvPr id="4" name="Straight Connector 3">
            <a:extLst>
              <a:ext uri="{FF2B5EF4-FFF2-40B4-BE49-F238E27FC236}">
                <a16:creationId xmlns:a16="http://schemas.microsoft.com/office/drawing/2014/main" id="{76310613-D78B-442E-85B8-2951B68DD0EF}"/>
              </a:ext>
            </a:extLst>
          </p:cNvPr>
          <p:cNvCxnSpPr>
            <a:cxnSpLocks/>
          </p:cNvCxnSpPr>
          <p:nvPr/>
        </p:nvCxnSpPr>
        <p:spPr>
          <a:xfrm>
            <a:off x="472500" y="2386760"/>
            <a:ext cx="7915924" cy="0"/>
          </a:xfrm>
          <a:prstGeom prst="line">
            <a:avLst/>
          </a:prstGeom>
          <a:ln w="9525" cap="rnd">
            <a:solidFill>
              <a:schemeClr val="bg1">
                <a:lumMod val="5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23" name="ee4pContent1">
            <a:extLst>
              <a:ext uri="{FF2B5EF4-FFF2-40B4-BE49-F238E27FC236}">
                <a16:creationId xmlns:a16="http://schemas.microsoft.com/office/drawing/2014/main" id="{CA3394CC-BB55-41B7-8BD1-B2F57C52370F}"/>
              </a:ext>
            </a:extLst>
          </p:cNvPr>
          <p:cNvSpPr txBox="1"/>
          <p:nvPr/>
        </p:nvSpPr>
        <p:spPr>
          <a:xfrm>
            <a:off x="480116" y="4333247"/>
            <a:ext cx="4523931" cy="184666"/>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spAutoFit/>
          </a:bodyPr>
          <a:lstStyle>
            <a:defPPr>
              <a:defRPr lang="en-US"/>
            </a:defPPr>
            <a:lvl1pPr>
              <a:buSzPct val="100000"/>
              <a:buFont typeface="Trebuchet MS" panose="020B0603020202020204" pitchFamily="34" charset="0"/>
              <a:buChar char="​"/>
              <a:defRPr sz="1200">
                <a:solidFill>
                  <a:srgbClr val="000000"/>
                </a:solidFill>
                <a:cs typeface="Arial" pitchFamily="34" charset="0"/>
              </a:defRPr>
            </a:lvl1pPr>
            <a:lvl2pPr marL="324000" lvl="1" indent="-216000">
              <a:buClr>
                <a:srgbClr val="E2001A"/>
              </a:buClr>
              <a:buSzPct val="100000"/>
              <a:buFont typeface="Trebuchet MS" panose="020B0603020202020204" pitchFamily="34" charset="0"/>
              <a:buChar char="•"/>
              <a:defRPr sz="1200">
                <a:solidFill>
                  <a:srgbClr val="000000"/>
                </a:solidFill>
              </a:defRPr>
            </a:lvl2pPr>
            <a:lvl3pPr marL="648000" lvl="2" indent="-216000">
              <a:buClr>
                <a:srgbClr val="E2001A"/>
              </a:buClr>
              <a:buSzPct val="100000"/>
              <a:buFont typeface="Trebuchet MS" panose="020B0603020202020204" pitchFamily="34" charset="0"/>
              <a:buChar char="–"/>
              <a:defRPr sz="1200">
                <a:solidFill>
                  <a:srgbClr val="000000"/>
                </a:solidFill>
              </a:defRPr>
            </a:lvl3pPr>
            <a:lvl4pPr marL="0" lvl="3">
              <a:buSzPct val="100000"/>
              <a:buFont typeface="Trebuchet MS" panose="020B0603020202020204" pitchFamily="34" charset="0"/>
              <a:buChar char="​"/>
              <a:defRPr sz="1600" b="1">
                <a:solidFill>
                  <a:srgbClr val="000000"/>
                </a:solidFill>
              </a:defRPr>
            </a:lvl4pPr>
            <a:lvl5pPr marL="0" lvl="4">
              <a:buSzPct val="100000"/>
              <a:buFont typeface="Trebuchet MS" panose="020B0603020202020204" pitchFamily="34" charset="0"/>
              <a:buChar char="​"/>
              <a:defRPr sz="1600" b="1">
                <a:solidFill>
                  <a:srgbClr val="000000"/>
                </a:solidFill>
              </a:defRPr>
            </a:lvl5pPr>
            <a:lvl6pPr marL="324000" lvl="5" indent="-216000">
              <a:buClr>
                <a:srgbClr val="E2001A"/>
              </a:buClr>
              <a:buSzPct val="100000"/>
              <a:buFont typeface="Trebuchet MS" panose="020B0603020202020204" pitchFamily="34" charset="0"/>
              <a:buChar char="•"/>
              <a:defRPr sz="1600">
                <a:solidFill>
                  <a:srgbClr val="000000"/>
                </a:solidFill>
              </a:defRPr>
            </a:lvl6pPr>
            <a:lvl7pPr marL="0" lvl="6">
              <a:buSzPct val="100000"/>
              <a:buFont typeface="Trebuchet MS" panose="020B0603020202020204" pitchFamily="34" charset="0"/>
              <a:buChar char="​"/>
              <a:defRPr sz="4400">
                <a:solidFill>
                  <a:srgbClr val="000000"/>
                </a:solidFill>
              </a:defRPr>
            </a:lvl7pPr>
            <a:lvl8pPr marL="0" lvl="7">
              <a:buSzPct val="100000"/>
              <a:buFont typeface="Trebuchet MS" panose="020B0603020202020204" pitchFamily="34" charset="0"/>
              <a:buChar char="​"/>
              <a:defRPr sz="5400">
                <a:solidFill>
                  <a:srgbClr val="E2001A"/>
                </a:solidFill>
              </a:defRPr>
            </a:lvl8pPr>
            <a:lvl9pPr marL="0" lvl="8">
              <a:buSzPct val="100000"/>
              <a:buFont typeface="Trebuchet MS" panose="020B0603020202020204" pitchFamily="34" charset="0"/>
              <a:buChar char="​"/>
              <a:defRPr sz="2400">
                <a:solidFill>
                  <a:srgbClr val="E2001A"/>
                </a:solidFill>
              </a:defRPr>
            </a:lvl9pPr>
          </a:lstStyle>
          <a:p>
            <a:pPr marL="0" lvl="1" indent="0">
              <a:buClr>
                <a:schemeClr val="tx2"/>
              </a:buClr>
              <a:buNone/>
            </a:pPr>
            <a:r>
              <a:rPr lang="de-DE" dirty="0">
                <a:solidFill>
                  <a:srgbClr val="0A4E78"/>
                </a:solidFill>
                <a:sym typeface="Trebuchet MS" panose="020B0603020202020204" pitchFamily="34" charset="0"/>
              </a:rPr>
              <a:t>Weiterführende Informationen finden Sie </a:t>
            </a:r>
            <a:r>
              <a:rPr lang="de-DE" i="1" u="sng" dirty="0">
                <a:solidFill>
                  <a:srgbClr val="776810"/>
                </a:solidFill>
                <a:sym typeface="Trebuchet MS" panose="020B0603020202020204" pitchFamily="34" charset="0"/>
              </a:rPr>
              <a:t> </a:t>
            </a:r>
            <a:r>
              <a:rPr lang="de-DE" i="1" u="sng" dirty="0">
                <a:solidFill>
                  <a:srgbClr val="776810"/>
                </a:solidFill>
                <a:sym typeface="Trebuchet MS" panose="020B0603020202020204" pitchFamily="34" charset="0"/>
                <a:hlinkClick r:id="rId6">
                  <a:extLst>
                    <a:ext uri="{A12FA001-AC4F-418D-AE19-62706E023703}">
                      <ahyp:hlinkClr xmlns="" xmlns:ahyp="http://schemas.microsoft.com/office/drawing/2018/hyperlinkcolor" val="tx"/>
                    </a:ext>
                  </a:extLst>
                </a:hlinkClick>
              </a:rPr>
              <a:t>hier</a:t>
            </a:r>
            <a:endParaRPr lang="de-DE" i="1" u="sng" dirty="0">
              <a:solidFill>
                <a:srgbClr val="776810"/>
              </a:solidFill>
              <a:sym typeface="Trebuchet MS" panose="020B0603020202020204" pitchFamily="34" charset="0"/>
            </a:endParaRPr>
          </a:p>
        </p:txBody>
      </p:sp>
      <p:grpSp>
        <p:nvGrpSpPr>
          <p:cNvPr id="25" name="Group 24">
            <a:extLst>
              <a:ext uri="{FF2B5EF4-FFF2-40B4-BE49-F238E27FC236}">
                <a16:creationId xmlns:a16="http://schemas.microsoft.com/office/drawing/2014/main" id="{BF3CDABA-4BCE-4375-A391-05286C9C613E}"/>
              </a:ext>
            </a:extLst>
          </p:cNvPr>
          <p:cNvGrpSpPr>
            <a:grpSpLocks noChangeAspect="1"/>
          </p:cNvGrpSpPr>
          <p:nvPr/>
        </p:nvGrpSpPr>
        <p:grpSpPr bwMode="auto">
          <a:xfrm>
            <a:off x="395536" y="1314423"/>
            <a:ext cx="457200" cy="457200"/>
            <a:chOff x="1756" y="972"/>
            <a:chExt cx="288" cy="288"/>
          </a:xfrm>
        </p:grpSpPr>
        <p:sp>
          <p:nvSpPr>
            <p:cNvPr id="26" name="AutoShape 23">
              <a:extLst>
                <a:ext uri="{FF2B5EF4-FFF2-40B4-BE49-F238E27FC236}">
                  <a16:creationId xmlns:a16="http://schemas.microsoft.com/office/drawing/2014/main" id="{68C15828-6FE8-4D77-9F28-8742AC652461}"/>
                </a:ext>
              </a:extLst>
            </p:cNvPr>
            <p:cNvSpPr>
              <a:spLocks noChangeAspect="1" noChangeArrowheads="1" noTextEdit="1"/>
            </p:cNvSpPr>
            <p:nvPr/>
          </p:nvSpPr>
          <p:spPr bwMode="auto">
            <a:xfrm>
              <a:off x="1756" y="972"/>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7" name="Freeform 25">
              <a:extLst>
                <a:ext uri="{FF2B5EF4-FFF2-40B4-BE49-F238E27FC236}">
                  <a16:creationId xmlns:a16="http://schemas.microsoft.com/office/drawing/2014/main" id="{26CAA329-5CF7-47ED-9129-E3EB315CB93A}"/>
                </a:ext>
              </a:extLst>
            </p:cNvPr>
            <p:cNvSpPr>
              <a:spLocks noEditPoints="1"/>
            </p:cNvSpPr>
            <p:nvPr/>
          </p:nvSpPr>
          <p:spPr bwMode="auto">
            <a:xfrm>
              <a:off x="1808" y="993"/>
              <a:ext cx="184" cy="246"/>
            </a:xfrm>
            <a:custGeom>
              <a:avLst/>
              <a:gdLst>
                <a:gd name="T0" fmla="*/ 227 w 640"/>
                <a:gd name="T1" fmla="*/ 678 h 854"/>
                <a:gd name="T2" fmla="*/ 136 w 640"/>
                <a:gd name="T3" fmla="*/ 586 h 854"/>
                <a:gd name="T4" fmla="*/ 224 w 640"/>
                <a:gd name="T5" fmla="*/ 144 h 854"/>
                <a:gd name="T6" fmla="*/ 428 w 640"/>
                <a:gd name="T7" fmla="*/ 133 h 854"/>
                <a:gd name="T8" fmla="*/ 428 w 640"/>
                <a:gd name="T9" fmla="*/ 85 h 854"/>
                <a:gd name="T10" fmla="*/ 423 w 640"/>
                <a:gd name="T11" fmla="*/ 49 h 854"/>
                <a:gd name="T12" fmla="*/ 374 w 640"/>
                <a:gd name="T13" fmla="*/ 26 h 854"/>
                <a:gd name="T14" fmla="*/ 266 w 640"/>
                <a:gd name="T15" fmla="*/ 26 h 854"/>
                <a:gd name="T16" fmla="*/ 217 w 640"/>
                <a:gd name="T17" fmla="*/ 49 h 854"/>
                <a:gd name="T18" fmla="*/ 212 w 640"/>
                <a:gd name="T19" fmla="*/ 85 h 854"/>
                <a:gd name="T20" fmla="*/ 212 w 640"/>
                <a:gd name="T21" fmla="*/ 133 h 854"/>
                <a:gd name="T22" fmla="*/ 303 w 640"/>
                <a:gd name="T23" fmla="*/ 26 h 854"/>
                <a:gd name="T24" fmla="*/ 337 w 640"/>
                <a:gd name="T25" fmla="*/ 26 h 854"/>
                <a:gd name="T26" fmla="*/ 278 w 640"/>
                <a:gd name="T27" fmla="*/ 50 h 854"/>
                <a:gd name="T28" fmla="*/ 618 w 640"/>
                <a:gd name="T29" fmla="*/ 92 h 854"/>
                <a:gd name="T30" fmla="*/ 472 w 640"/>
                <a:gd name="T31" fmla="*/ 133 h 854"/>
                <a:gd name="T32" fmla="*/ 224 w 640"/>
                <a:gd name="T33" fmla="*/ 188 h 854"/>
                <a:gd name="T34" fmla="*/ 168 w 640"/>
                <a:gd name="T35" fmla="*/ 92 h 854"/>
                <a:gd name="T36" fmla="*/ 0 w 640"/>
                <a:gd name="T37" fmla="*/ 114 h 854"/>
                <a:gd name="T38" fmla="*/ 22 w 640"/>
                <a:gd name="T39" fmla="*/ 854 h 854"/>
                <a:gd name="T40" fmla="*/ 640 w 640"/>
                <a:gd name="T41" fmla="*/ 832 h 854"/>
                <a:gd name="T42" fmla="*/ 618 w 640"/>
                <a:gd name="T43" fmla="*/ 92 h 854"/>
                <a:gd name="T44" fmla="*/ 242 w 640"/>
                <a:gd name="T45" fmla="*/ 710 h 854"/>
                <a:gd name="T46" fmla="*/ 104 w 640"/>
                <a:gd name="T47" fmla="*/ 693 h 854"/>
                <a:gd name="T48" fmla="*/ 120 w 640"/>
                <a:gd name="T49" fmla="*/ 555 h 854"/>
                <a:gd name="T50" fmla="*/ 259 w 640"/>
                <a:gd name="T51" fmla="*/ 571 h 854"/>
                <a:gd name="T52" fmla="*/ 259 w 640"/>
                <a:gd name="T53" fmla="*/ 427 h 854"/>
                <a:gd name="T54" fmla="*/ 120 w 640"/>
                <a:gd name="T55" fmla="*/ 444 h 854"/>
                <a:gd name="T56" fmla="*/ 104 w 640"/>
                <a:gd name="T57" fmla="*/ 305 h 854"/>
                <a:gd name="T58" fmla="*/ 242 w 640"/>
                <a:gd name="T59" fmla="*/ 289 h 854"/>
                <a:gd name="T60" fmla="*/ 259 w 640"/>
                <a:gd name="T61" fmla="*/ 427 h 854"/>
                <a:gd name="T62" fmla="*/ 339 w 640"/>
                <a:gd name="T63" fmla="*/ 710 h 854"/>
                <a:gd name="T64" fmla="*/ 339 w 640"/>
                <a:gd name="T65" fmla="*/ 666 h 854"/>
                <a:gd name="T66" fmla="*/ 552 w 640"/>
                <a:gd name="T67" fmla="*/ 688 h 854"/>
                <a:gd name="T68" fmla="*/ 530 w 640"/>
                <a:gd name="T69" fmla="*/ 609 h 854"/>
                <a:gd name="T70" fmla="*/ 317 w 640"/>
                <a:gd name="T71" fmla="*/ 587 h 854"/>
                <a:gd name="T72" fmla="*/ 530 w 640"/>
                <a:gd name="T73" fmla="*/ 565 h 854"/>
                <a:gd name="T74" fmla="*/ 530 w 640"/>
                <a:gd name="T75" fmla="*/ 609 h 854"/>
                <a:gd name="T76" fmla="*/ 339 w 640"/>
                <a:gd name="T77" fmla="*/ 444 h 854"/>
                <a:gd name="T78" fmla="*/ 339 w 640"/>
                <a:gd name="T79" fmla="*/ 400 h 854"/>
                <a:gd name="T80" fmla="*/ 552 w 640"/>
                <a:gd name="T81" fmla="*/ 422 h 854"/>
                <a:gd name="T82" fmla="*/ 530 w 640"/>
                <a:gd name="T83" fmla="*/ 343 h 854"/>
                <a:gd name="T84" fmla="*/ 317 w 640"/>
                <a:gd name="T85" fmla="*/ 321 h 854"/>
                <a:gd name="T86" fmla="*/ 530 w 640"/>
                <a:gd name="T87" fmla="*/ 298 h 854"/>
                <a:gd name="T88" fmla="*/ 530 w 640"/>
                <a:gd name="T89" fmla="*/ 343 h 854"/>
                <a:gd name="T90" fmla="*/ 227 w 640"/>
                <a:gd name="T91" fmla="*/ 412 h 854"/>
                <a:gd name="T92" fmla="*/ 136 w 640"/>
                <a:gd name="T93" fmla="*/ 321 h 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640" h="854">
                  <a:moveTo>
                    <a:pt x="136" y="678"/>
                  </a:moveTo>
                  <a:cubicBezTo>
                    <a:pt x="227" y="678"/>
                    <a:pt x="227" y="678"/>
                    <a:pt x="227" y="678"/>
                  </a:cubicBezTo>
                  <a:cubicBezTo>
                    <a:pt x="227" y="586"/>
                    <a:pt x="227" y="586"/>
                    <a:pt x="227" y="586"/>
                  </a:cubicBezTo>
                  <a:cubicBezTo>
                    <a:pt x="136" y="586"/>
                    <a:pt x="136" y="586"/>
                    <a:pt x="136" y="586"/>
                  </a:cubicBezTo>
                  <a:lnTo>
                    <a:pt x="136" y="678"/>
                  </a:lnTo>
                  <a:close/>
                  <a:moveTo>
                    <a:pt x="224" y="144"/>
                  </a:moveTo>
                  <a:cubicBezTo>
                    <a:pt x="416" y="144"/>
                    <a:pt x="416" y="144"/>
                    <a:pt x="416" y="144"/>
                  </a:cubicBezTo>
                  <a:cubicBezTo>
                    <a:pt x="423" y="144"/>
                    <a:pt x="428" y="139"/>
                    <a:pt x="428" y="133"/>
                  </a:cubicBezTo>
                  <a:cubicBezTo>
                    <a:pt x="428" y="108"/>
                    <a:pt x="428" y="108"/>
                    <a:pt x="428" y="108"/>
                  </a:cubicBezTo>
                  <a:cubicBezTo>
                    <a:pt x="428" y="85"/>
                    <a:pt x="428" y="85"/>
                    <a:pt x="428" y="85"/>
                  </a:cubicBezTo>
                  <a:cubicBezTo>
                    <a:pt x="428" y="55"/>
                    <a:pt x="428" y="55"/>
                    <a:pt x="428" y="55"/>
                  </a:cubicBezTo>
                  <a:cubicBezTo>
                    <a:pt x="428" y="52"/>
                    <a:pt x="425" y="49"/>
                    <a:pt x="423" y="49"/>
                  </a:cubicBezTo>
                  <a:cubicBezTo>
                    <a:pt x="386" y="49"/>
                    <a:pt x="386" y="49"/>
                    <a:pt x="386" y="49"/>
                  </a:cubicBezTo>
                  <a:cubicBezTo>
                    <a:pt x="384" y="41"/>
                    <a:pt x="379" y="33"/>
                    <a:pt x="374" y="26"/>
                  </a:cubicBezTo>
                  <a:cubicBezTo>
                    <a:pt x="361" y="10"/>
                    <a:pt x="342" y="0"/>
                    <a:pt x="320" y="0"/>
                  </a:cubicBezTo>
                  <a:cubicBezTo>
                    <a:pt x="298" y="0"/>
                    <a:pt x="279" y="10"/>
                    <a:pt x="266" y="26"/>
                  </a:cubicBezTo>
                  <a:cubicBezTo>
                    <a:pt x="261" y="33"/>
                    <a:pt x="256" y="41"/>
                    <a:pt x="254" y="49"/>
                  </a:cubicBezTo>
                  <a:cubicBezTo>
                    <a:pt x="217" y="49"/>
                    <a:pt x="217" y="49"/>
                    <a:pt x="217" y="49"/>
                  </a:cubicBezTo>
                  <a:cubicBezTo>
                    <a:pt x="215" y="49"/>
                    <a:pt x="212" y="52"/>
                    <a:pt x="212" y="55"/>
                  </a:cubicBezTo>
                  <a:cubicBezTo>
                    <a:pt x="212" y="85"/>
                    <a:pt x="212" y="85"/>
                    <a:pt x="212" y="85"/>
                  </a:cubicBezTo>
                  <a:cubicBezTo>
                    <a:pt x="212" y="108"/>
                    <a:pt x="212" y="108"/>
                    <a:pt x="212" y="108"/>
                  </a:cubicBezTo>
                  <a:cubicBezTo>
                    <a:pt x="212" y="133"/>
                    <a:pt x="212" y="133"/>
                    <a:pt x="212" y="133"/>
                  </a:cubicBezTo>
                  <a:cubicBezTo>
                    <a:pt x="212" y="139"/>
                    <a:pt x="217" y="144"/>
                    <a:pt x="224" y="144"/>
                  </a:cubicBezTo>
                  <a:close/>
                  <a:moveTo>
                    <a:pt x="303" y="26"/>
                  </a:moveTo>
                  <a:cubicBezTo>
                    <a:pt x="309" y="25"/>
                    <a:pt x="314" y="24"/>
                    <a:pt x="320" y="24"/>
                  </a:cubicBezTo>
                  <a:cubicBezTo>
                    <a:pt x="326" y="24"/>
                    <a:pt x="331" y="25"/>
                    <a:pt x="337" y="26"/>
                  </a:cubicBezTo>
                  <a:cubicBezTo>
                    <a:pt x="347" y="31"/>
                    <a:pt x="357" y="39"/>
                    <a:pt x="362" y="50"/>
                  </a:cubicBezTo>
                  <a:cubicBezTo>
                    <a:pt x="278" y="50"/>
                    <a:pt x="278" y="50"/>
                    <a:pt x="278" y="50"/>
                  </a:cubicBezTo>
                  <a:cubicBezTo>
                    <a:pt x="283" y="39"/>
                    <a:pt x="293" y="31"/>
                    <a:pt x="303" y="26"/>
                  </a:cubicBezTo>
                  <a:close/>
                  <a:moveTo>
                    <a:pt x="618" y="92"/>
                  </a:moveTo>
                  <a:cubicBezTo>
                    <a:pt x="472" y="92"/>
                    <a:pt x="472" y="92"/>
                    <a:pt x="472" y="92"/>
                  </a:cubicBezTo>
                  <a:cubicBezTo>
                    <a:pt x="472" y="133"/>
                    <a:pt x="472" y="133"/>
                    <a:pt x="472" y="133"/>
                  </a:cubicBezTo>
                  <a:cubicBezTo>
                    <a:pt x="472" y="163"/>
                    <a:pt x="447" y="188"/>
                    <a:pt x="416" y="188"/>
                  </a:cubicBezTo>
                  <a:cubicBezTo>
                    <a:pt x="224" y="188"/>
                    <a:pt x="224" y="188"/>
                    <a:pt x="224" y="188"/>
                  </a:cubicBezTo>
                  <a:cubicBezTo>
                    <a:pt x="193" y="188"/>
                    <a:pt x="168" y="163"/>
                    <a:pt x="168" y="133"/>
                  </a:cubicBezTo>
                  <a:cubicBezTo>
                    <a:pt x="168" y="92"/>
                    <a:pt x="168" y="92"/>
                    <a:pt x="168" y="92"/>
                  </a:cubicBezTo>
                  <a:cubicBezTo>
                    <a:pt x="22" y="92"/>
                    <a:pt x="22" y="92"/>
                    <a:pt x="22" y="92"/>
                  </a:cubicBezTo>
                  <a:cubicBezTo>
                    <a:pt x="10" y="92"/>
                    <a:pt x="0" y="102"/>
                    <a:pt x="0" y="114"/>
                  </a:cubicBezTo>
                  <a:cubicBezTo>
                    <a:pt x="0" y="832"/>
                    <a:pt x="0" y="832"/>
                    <a:pt x="0" y="832"/>
                  </a:cubicBezTo>
                  <a:cubicBezTo>
                    <a:pt x="0" y="844"/>
                    <a:pt x="10" y="854"/>
                    <a:pt x="22" y="854"/>
                  </a:cubicBezTo>
                  <a:cubicBezTo>
                    <a:pt x="618" y="854"/>
                    <a:pt x="618" y="854"/>
                    <a:pt x="618" y="854"/>
                  </a:cubicBezTo>
                  <a:cubicBezTo>
                    <a:pt x="630" y="854"/>
                    <a:pt x="640" y="844"/>
                    <a:pt x="640" y="832"/>
                  </a:cubicBezTo>
                  <a:cubicBezTo>
                    <a:pt x="640" y="114"/>
                    <a:pt x="640" y="114"/>
                    <a:pt x="640" y="114"/>
                  </a:cubicBezTo>
                  <a:cubicBezTo>
                    <a:pt x="640" y="102"/>
                    <a:pt x="630" y="92"/>
                    <a:pt x="618" y="92"/>
                  </a:cubicBezTo>
                  <a:close/>
                  <a:moveTo>
                    <a:pt x="259" y="693"/>
                  </a:moveTo>
                  <a:cubicBezTo>
                    <a:pt x="259" y="702"/>
                    <a:pt x="251" y="710"/>
                    <a:pt x="242" y="710"/>
                  </a:cubicBezTo>
                  <a:cubicBezTo>
                    <a:pt x="120" y="710"/>
                    <a:pt x="120" y="710"/>
                    <a:pt x="120" y="710"/>
                  </a:cubicBezTo>
                  <a:cubicBezTo>
                    <a:pt x="111" y="710"/>
                    <a:pt x="104" y="702"/>
                    <a:pt x="104" y="693"/>
                  </a:cubicBezTo>
                  <a:cubicBezTo>
                    <a:pt x="104" y="571"/>
                    <a:pt x="104" y="571"/>
                    <a:pt x="104" y="571"/>
                  </a:cubicBezTo>
                  <a:cubicBezTo>
                    <a:pt x="104" y="562"/>
                    <a:pt x="111" y="555"/>
                    <a:pt x="120" y="555"/>
                  </a:cubicBezTo>
                  <a:cubicBezTo>
                    <a:pt x="242" y="555"/>
                    <a:pt x="242" y="555"/>
                    <a:pt x="242" y="555"/>
                  </a:cubicBezTo>
                  <a:cubicBezTo>
                    <a:pt x="251" y="555"/>
                    <a:pt x="259" y="562"/>
                    <a:pt x="259" y="571"/>
                  </a:cubicBezTo>
                  <a:lnTo>
                    <a:pt x="259" y="693"/>
                  </a:lnTo>
                  <a:close/>
                  <a:moveTo>
                    <a:pt x="259" y="427"/>
                  </a:moveTo>
                  <a:cubicBezTo>
                    <a:pt x="259" y="436"/>
                    <a:pt x="251" y="444"/>
                    <a:pt x="242" y="444"/>
                  </a:cubicBezTo>
                  <a:cubicBezTo>
                    <a:pt x="120" y="444"/>
                    <a:pt x="120" y="444"/>
                    <a:pt x="120" y="444"/>
                  </a:cubicBezTo>
                  <a:cubicBezTo>
                    <a:pt x="111" y="444"/>
                    <a:pt x="104" y="436"/>
                    <a:pt x="104" y="427"/>
                  </a:cubicBezTo>
                  <a:cubicBezTo>
                    <a:pt x="104" y="305"/>
                    <a:pt x="104" y="305"/>
                    <a:pt x="104" y="305"/>
                  </a:cubicBezTo>
                  <a:cubicBezTo>
                    <a:pt x="104" y="296"/>
                    <a:pt x="111" y="289"/>
                    <a:pt x="120" y="289"/>
                  </a:cubicBezTo>
                  <a:cubicBezTo>
                    <a:pt x="242" y="289"/>
                    <a:pt x="242" y="289"/>
                    <a:pt x="242" y="289"/>
                  </a:cubicBezTo>
                  <a:cubicBezTo>
                    <a:pt x="251" y="289"/>
                    <a:pt x="259" y="296"/>
                    <a:pt x="259" y="305"/>
                  </a:cubicBezTo>
                  <a:lnTo>
                    <a:pt x="259" y="427"/>
                  </a:lnTo>
                  <a:close/>
                  <a:moveTo>
                    <a:pt x="530" y="710"/>
                  </a:moveTo>
                  <a:cubicBezTo>
                    <a:pt x="530" y="710"/>
                    <a:pt x="452" y="710"/>
                    <a:pt x="339" y="710"/>
                  </a:cubicBezTo>
                  <a:cubicBezTo>
                    <a:pt x="327" y="710"/>
                    <a:pt x="317" y="700"/>
                    <a:pt x="317" y="688"/>
                  </a:cubicBezTo>
                  <a:cubicBezTo>
                    <a:pt x="317" y="676"/>
                    <a:pt x="327" y="666"/>
                    <a:pt x="339" y="666"/>
                  </a:cubicBezTo>
                  <a:cubicBezTo>
                    <a:pt x="339" y="666"/>
                    <a:pt x="398" y="666"/>
                    <a:pt x="530" y="666"/>
                  </a:cubicBezTo>
                  <a:cubicBezTo>
                    <a:pt x="542" y="666"/>
                    <a:pt x="552" y="676"/>
                    <a:pt x="552" y="688"/>
                  </a:cubicBezTo>
                  <a:cubicBezTo>
                    <a:pt x="552" y="700"/>
                    <a:pt x="542" y="710"/>
                    <a:pt x="530" y="710"/>
                  </a:cubicBezTo>
                  <a:close/>
                  <a:moveTo>
                    <a:pt x="530" y="609"/>
                  </a:moveTo>
                  <a:cubicBezTo>
                    <a:pt x="530" y="609"/>
                    <a:pt x="428" y="609"/>
                    <a:pt x="339" y="609"/>
                  </a:cubicBezTo>
                  <a:cubicBezTo>
                    <a:pt x="327" y="609"/>
                    <a:pt x="317" y="599"/>
                    <a:pt x="317" y="587"/>
                  </a:cubicBezTo>
                  <a:cubicBezTo>
                    <a:pt x="317" y="575"/>
                    <a:pt x="327" y="565"/>
                    <a:pt x="339" y="565"/>
                  </a:cubicBezTo>
                  <a:cubicBezTo>
                    <a:pt x="339" y="565"/>
                    <a:pt x="476" y="565"/>
                    <a:pt x="530" y="565"/>
                  </a:cubicBezTo>
                  <a:cubicBezTo>
                    <a:pt x="542" y="565"/>
                    <a:pt x="552" y="575"/>
                    <a:pt x="552" y="587"/>
                  </a:cubicBezTo>
                  <a:cubicBezTo>
                    <a:pt x="552" y="599"/>
                    <a:pt x="542" y="609"/>
                    <a:pt x="530" y="609"/>
                  </a:cubicBezTo>
                  <a:close/>
                  <a:moveTo>
                    <a:pt x="530" y="444"/>
                  </a:moveTo>
                  <a:cubicBezTo>
                    <a:pt x="530" y="444"/>
                    <a:pt x="415" y="444"/>
                    <a:pt x="339" y="444"/>
                  </a:cubicBezTo>
                  <a:cubicBezTo>
                    <a:pt x="327" y="444"/>
                    <a:pt x="317" y="434"/>
                    <a:pt x="317" y="422"/>
                  </a:cubicBezTo>
                  <a:cubicBezTo>
                    <a:pt x="317" y="410"/>
                    <a:pt x="327" y="400"/>
                    <a:pt x="339" y="400"/>
                  </a:cubicBezTo>
                  <a:cubicBezTo>
                    <a:pt x="339" y="400"/>
                    <a:pt x="476" y="400"/>
                    <a:pt x="530" y="400"/>
                  </a:cubicBezTo>
                  <a:cubicBezTo>
                    <a:pt x="542" y="400"/>
                    <a:pt x="552" y="410"/>
                    <a:pt x="552" y="422"/>
                  </a:cubicBezTo>
                  <a:cubicBezTo>
                    <a:pt x="552" y="434"/>
                    <a:pt x="542" y="444"/>
                    <a:pt x="530" y="444"/>
                  </a:cubicBezTo>
                  <a:close/>
                  <a:moveTo>
                    <a:pt x="530" y="343"/>
                  </a:moveTo>
                  <a:cubicBezTo>
                    <a:pt x="530" y="343"/>
                    <a:pt x="413" y="343"/>
                    <a:pt x="339" y="343"/>
                  </a:cubicBezTo>
                  <a:cubicBezTo>
                    <a:pt x="327" y="343"/>
                    <a:pt x="317" y="333"/>
                    <a:pt x="317" y="321"/>
                  </a:cubicBezTo>
                  <a:cubicBezTo>
                    <a:pt x="317" y="308"/>
                    <a:pt x="327" y="298"/>
                    <a:pt x="339" y="298"/>
                  </a:cubicBezTo>
                  <a:cubicBezTo>
                    <a:pt x="339" y="298"/>
                    <a:pt x="459" y="298"/>
                    <a:pt x="530" y="298"/>
                  </a:cubicBezTo>
                  <a:cubicBezTo>
                    <a:pt x="542" y="298"/>
                    <a:pt x="552" y="308"/>
                    <a:pt x="552" y="321"/>
                  </a:cubicBezTo>
                  <a:cubicBezTo>
                    <a:pt x="552" y="333"/>
                    <a:pt x="542" y="343"/>
                    <a:pt x="530" y="343"/>
                  </a:cubicBezTo>
                  <a:close/>
                  <a:moveTo>
                    <a:pt x="136" y="412"/>
                  </a:moveTo>
                  <a:cubicBezTo>
                    <a:pt x="227" y="412"/>
                    <a:pt x="227" y="412"/>
                    <a:pt x="227" y="412"/>
                  </a:cubicBezTo>
                  <a:cubicBezTo>
                    <a:pt x="227" y="321"/>
                    <a:pt x="227" y="321"/>
                    <a:pt x="227" y="321"/>
                  </a:cubicBezTo>
                  <a:cubicBezTo>
                    <a:pt x="136" y="321"/>
                    <a:pt x="136" y="321"/>
                    <a:pt x="136" y="321"/>
                  </a:cubicBezTo>
                  <a:lnTo>
                    <a:pt x="136" y="412"/>
                  </a:ln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grpSp>
      <p:cxnSp>
        <p:nvCxnSpPr>
          <p:cNvPr id="31" name="Straight Connector 30">
            <a:extLst>
              <a:ext uri="{FF2B5EF4-FFF2-40B4-BE49-F238E27FC236}">
                <a16:creationId xmlns:a16="http://schemas.microsoft.com/office/drawing/2014/main" id="{8EB2CE6C-6857-4941-8973-B9A2E52F5EAC}"/>
              </a:ext>
            </a:extLst>
          </p:cNvPr>
          <p:cNvCxnSpPr>
            <a:cxnSpLocks/>
          </p:cNvCxnSpPr>
          <p:nvPr/>
        </p:nvCxnSpPr>
        <p:spPr>
          <a:xfrm>
            <a:off x="472500" y="2971553"/>
            <a:ext cx="7915924" cy="0"/>
          </a:xfrm>
          <a:prstGeom prst="line">
            <a:avLst/>
          </a:prstGeom>
          <a:ln w="9525" cap="rnd">
            <a:solidFill>
              <a:schemeClr val="bg1">
                <a:lumMod val="50000"/>
              </a:schemeClr>
            </a:solidFill>
            <a:prstDash val="sysDash"/>
            <a:roun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011E0BAA-8D97-4F24-B83C-B4A46FA6AE23}"/>
              </a:ext>
            </a:extLst>
          </p:cNvPr>
          <p:cNvGrpSpPr/>
          <p:nvPr/>
        </p:nvGrpSpPr>
        <p:grpSpPr>
          <a:xfrm>
            <a:off x="472500" y="3148533"/>
            <a:ext cx="7915924" cy="392415"/>
            <a:chOff x="472500" y="2975967"/>
            <a:chExt cx="7915924" cy="392415"/>
          </a:xfrm>
        </p:grpSpPr>
        <p:sp>
          <p:nvSpPr>
            <p:cNvPr id="38" name="Rectangle 37">
              <a:extLst>
                <a:ext uri="{FF2B5EF4-FFF2-40B4-BE49-F238E27FC236}">
                  <a16:creationId xmlns:a16="http://schemas.microsoft.com/office/drawing/2014/main" id="{E9887793-61AC-4A4C-BAEF-F31D2A8379D4}"/>
                </a:ext>
              </a:extLst>
            </p:cNvPr>
            <p:cNvSpPr/>
            <p:nvPr/>
          </p:nvSpPr>
          <p:spPr>
            <a:xfrm>
              <a:off x="1903271" y="2975967"/>
              <a:ext cx="6485153" cy="39241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spAutoFit/>
            </a:bodyPr>
            <a:lstStyle/>
            <a:p>
              <a:pPr>
                <a:spcAft>
                  <a:spcPts val="450"/>
                </a:spcAft>
              </a:pPr>
              <a:r>
                <a:rPr lang="de-DE" sz="1050" dirty="0">
                  <a:solidFill>
                    <a:srgbClr val="0A4E78"/>
                  </a:solidFill>
                  <a:latin typeface="+mj-lt"/>
                  <a:sym typeface="Trebuchet MS" panose="020B0603020202020204" pitchFamily="34" charset="0"/>
                </a:rPr>
                <a:t>Die </a:t>
              </a:r>
              <a:r>
                <a:rPr lang="de-DE" sz="1050" b="1" dirty="0">
                  <a:solidFill>
                    <a:srgbClr val="0A4E78"/>
                  </a:solidFill>
                  <a:latin typeface="+mj-lt"/>
                  <a:sym typeface="Trebuchet MS" panose="020B0603020202020204" pitchFamily="34" charset="0"/>
                </a:rPr>
                <a:t>Verpackung muss aus mindestens drei Bestandteilen bestehen</a:t>
              </a:r>
              <a:r>
                <a:rPr lang="de-DE" sz="1050" dirty="0">
                  <a:solidFill>
                    <a:srgbClr val="0A4E78"/>
                  </a:solidFill>
                  <a:latin typeface="+mj-lt"/>
                  <a:sym typeface="Trebuchet MS" panose="020B0603020202020204" pitchFamily="34" charset="0"/>
                </a:rPr>
                <a:t>: Einem Primärgefäß, einer Sekundärverpackung und einer Außenverpackung, wobei entweder die Sekundärverpackung oder die Außenverpackung starr sein muss.</a:t>
              </a:r>
            </a:p>
          </p:txBody>
        </p:sp>
        <p:sp>
          <p:nvSpPr>
            <p:cNvPr id="39" name="Rectangle 38">
              <a:extLst>
                <a:ext uri="{FF2B5EF4-FFF2-40B4-BE49-F238E27FC236}">
                  <a16:creationId xmlns:a16="http://schemas.microsoft.com/office/drawing/2014/main" id="{5896092E-CE45-44FC-82C3-57548432E0A9}"/>
                </a:ext>
              </a:extLst>
            </p:cNvPr>
            <p:cNvSpPr/>
            <p:nvPr/>
          </p:nvSpPr>
          <p:spPr>
            <a:xfrm>
              <a:off x="472500" y="2975970"/>
              <a:ext cx="1206227" cy="392410"/>
            </a:xfrm>
            <a:prstGeom prst="rect">
              <a:avLst/>
            </a:prstGeom>
            <a:noFill/>
            <a:ln w="9525" cap="rnd" cmpd="sng" algn="ctr">
              <a:solidFill>
                <a:srgbClr val="003064"/>
              </a:solidFill>
              <a:prstDash val="solid"/>
              <a:round/>
              <a:headEnd type="none" w="med" len="med"/>
              <a:tailEnd type="none" w="med" len="med"/>
            </a:ln>
            <a:extLst>
              <a:ext uri="{909E8E84-426E-40DD-AFC4-6F175D3DCCD1}">
                <a14:hiddenFill xmlns:a14="http://schemas.microsoft.com/office/drawing/2010/main">
                  <a:solidFill>
                    <a:srgbClr val="2268A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1200" dirty="0">
                  <a:solidFill>
                    <a:srgbClr val="003064"/>
                  </a:solidFill>
                </a:rPr>
                <a:t>Bestandteile</a:t>
              </a:r>
            </a:p>
          </p:txBody>
        </p:sp>
      </p:grpSp>
      <p:cxnSp>
        <p:nvCxnSpPr>
          <p:cNvPr id="40" name="Straight Connector 39">
            <a:extLst>
              <a:ext uri="{FF2B5EF4-FFF2-40B4-BE49-F238E27FC236}">
                <a16:creationId xmlns:a16="http://schemas.microsoft.com/office/drawing/2014/main" id="{3A220CD4-A7D3-45F3-9988-4E9D6377C82D}"/>
              </a:ext>
            </a:extLst>
          </p:cNvPr>
          <p:cNvCxnSpPr>
            <a:cxnSpLocks/>
          </p:cNvCxnSpPr>
          <p:nvPr/>
        </p:nvCxnSpPr>
        <p:spPr>
          <a:xfrm>
            <a:off x="472500" y="3717929"/>
            <a:ext cx="7915924" cy="0"/>
          </a:xfrm>
          <a:prstGeom prst="line">
            <a:avLst/>
          </a:prstGeom>
          <a:ln w="9525" cap="rnd">
            <a:solidFill>
              <a:schemeClr val="bg1">
                <a:lumMod val="5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43" name="ee4pFootnotes">
            <a:extLst>
              <a:ext uri="{FF2B5EF4-FFF2-40B4-BE49-F238E27FC236}">
                <a16:creationId xmlns:a16="http://schemas.microsoft.com/office/drawing/2014/main" id="{BF2312B5-46D4-4DA2-84B9-B71BC1B3095C}"/>
              </a:ext>
            </a:extLst>
          </p:cNvPr>
          <p:cNvSpPr>
            <a:spLocks noChangeArrowheads="1"/>
          </p:cNvSpPr>
          <p:nvPr/>
        </p:nvSpPr>
        <p:spPr bwMode="auto">
          <a:xfrm>
            <a:off x="472500" y="4743428"/>
            <a:ext cx="7555884" cy="96950"/>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de-DE" sz="700" dirty="0">
                <a:solidFill>
                  <a:srgbClr val="898989"/>
                </a:solidFill>
                <a:latin typeface="+mn-lt"/>
                <a:cs typeface="+mn-cs"/>
                <a:sym typeface="Novel Sans Pro" panose="02000000000000000000" pitchFamily="50" charset="0"/>
              </a:rPr>
              <a:t>Quelle: Ärzteblatt, Verpackungsanweisung P650</a:t>
            </a:r>
          </a:p>
        </p:txBody>
      </p:sp>
    </p:spTree>
    <p:extLst>
      <p:ext uri="{BB962C8B-B14F-4D97-AF65-F5344CB8AC3E}">
        <p14:creationId xmlns:p14="http://schemas.microsoft.com/office/powerpoint/2010/main" val="3855384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2AF569E-8FAD-4A8B-BCE0-E8137926078C}"/>
              </a:ext>
            </a:extLst>
          </p:cNvPr>
          <p:cNvGraphicFramePr>
            <a:graphicFrameLocks noChangeAspect="1"/>
          </p:cNvGraphicFramePr>
          <p:nvPr>
            <p:custDataLst>
              <p:tags r:id="rId2"/>
            </p:custDataLst>
            <p:extLst>
              <p:ext uri="{D42A27DB-BD31-4B8C-83A1-F6EECF244321}">
                <p14:modId xmlns:p14="http://schemas.microsoft.com/office/powerpoint/2010/main" val="332006499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4806" name="think-cell Slide" r:id="rId6" imgW="592" imgH="595" progId="TCLayout.ActiveDocument.1">
                  <p:embed/>
                </p:oleObj>
              </mc:Choice>
              <mc:Fallback>
                <p:oleObj name="think-cell Slide" r:id="rId6" imgW="592" imgH="595" progId="TCLayout.ActiveDocument.1">
                  <p:embed/>
                  <p:pic>
                    <p:nvPicPr>
                      <p:cNvPr id="6" name="Object 5" hidden="1">
                        <a:extLst>
                          <a:ext uri="{FF2B5EF4-FFF2-40B4-BE49-F238E27FC236}">
                            <a16:creationId xmlns:a16="http://schemas.microsoft.com/office/drawing/2014/main" id="{D2AF569E-8FAD-4A8B-BCE0-E8137926078C}"/>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cxnSp>
        <p:nvCxnSpPr>
          <p:cNvPr id="81" name="Straight Connector 80">
            <a:extLst>
              <a:ext uri="{FF2B5EF4-FFF2-40B4-BE49-F238E27FC236}">
                <a16:creationId xmlns:a16="http://schemas.microsoft.com/office/drawing/2014/main" id="{76E49843-CD5B-40DE-A5B1-4FFE6B82A95C}"/>
              </a:ext>
            </a:extLst>
          </p:cNvPr>
          <p:cNvCxnSpPr>
            <a:cxnSpLocks/>
          </p:cNvCxnSpPr>
          <p:nvPr/>
        </p:nvCxnSpPr>
        <p:spPr>
          <a:xfrm flipH="1">
            <a:off x="5193117" y="1754401"/>
            <a:ext cx="3443109" cy="0"/>
          </a:xfrm>
          <a:prstGeom prst="line">
            <a:avLst/>
          </a:prstGeom>
          <a:ln w="19050" cap="rnd" cmpd="sng" algn="ctr">
            <a:solidFill>
              <a:srgbClr val="4C7895"/>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5A20D6A0-685D-41AB-9EB0-E2D77CD6BE17}"/>
              </a:ext>
            </a:extLst>
          </p:cNvPr>
          <p:cNvSpPr>
            <a:spLocks noGrp="1"/>
          </p:cNvSpPr>
          <p:nvPr>
            <p:ph type="title"/>
          </p:nvPr>
        </p:nvSpPr>
        <p:spPr>
          <a:xfrm>
            <a:off x="472500" y="300174"/>
            <a:ext cx="7453417" cy="784830"/>
          </a:xfrm>
        </p:spPr>
        <p:txBody>
          <a:bodyPr vert="horz" wrap="square">
            <a:spAutoFit/>
          </a:bodyPr>
          <a:lstStyle/>
          <a:p>
            <a:r>
              <a:rPr lang="de-DE" dirty="0"/>
              <a:t>Erfahrung Grund- und Förderschulen: Die </a:t>
            </a:r>
            <a:br>
              <a:rPr lang="de-DE" dirty="0"/>
            </a:br>
            <a:r>
              <a:rPr lang="de-DE" dirty="0"/>
              <a:t>Kombination der eingesetzten Produkte erfüllt P650</a:t>
            </a:r>
          </a:p>
        </p:txBody>
      </p:sp>
      <p:sp>
        <p:nvSpPr>
          <p:cNvPr id="33" name="Oval 32">
            <a:extLst>
              <a:ext uri="{FF2B5EF4-FFF2-40B4-BE49-F238E27FC236}">
                <a16:creationId xmlns:a16="http://schemas.microsoft.com/office/drawing/2014/main" id="{1283F9E1-38C3-4BF2-8572-B358448E59E9}"/>
              </a:ext>
            </a:extLst>
          </p:cNvPr>
          <p:cNvSpPr/>
          <p:nvPr/>
        </p:nvSpPr>
        <p:spPr>
          <a:xfrm>
            <a:off x="7769844" y="3207895"/>
            <a:ext cx="725112" cy="725112"/>
          </a:xfrm>
          <a:prstGeom prst="ellipse">
            <a:avLst/>
          </a:prstGeom>
          <a:grpFill/>
          <a:ln w="19050">
            <a:gradFill flip="none" rotWithShape="1">
              <a:gsLst>
                <a:gs pos="53000">
                  <a:srgbClr val="A8BCCF"/>
                </a:gs>
                <a:gs pos="4000">
                  <a:srgbClr val="4C7895"/>
                </a:gs>
                <a:gs pos="92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spcAft>
                <a:spcPts val="0"/>
              </a:spcAft>
            </a:pPr>
            <a:endParaRPr lang="de-DE" sz="1600" kern="0" dirty="0">
              <a:solidFill>
                <a:schemeClr val="bg1">
                  <a:lumMod val="50000"/>
                </a:schemeClr>
              </a:solidFill>
            </a:endParaRPr>
          </a:p>
        </p:txBody>
      </p:sp>
      <p:pic>
        <p:nvPicPr>
          <p:cNvPr id="37" name="Picture 36">
            <a:extLst>
              <a:ext uri="{FF2B5EF4-FFF2-40B4-BE49-F238E27FC236}">
                <a16:creationId xmlns:a16="http://schemas.microsoft.com/office/drawing/2014/main" id="{C0F75C2E-DA25-46A3-8477-D6E816FE0CE0}"/>
              </a:ext>
            </a:extLst>
          </p:cNvPr>
          <p:cNvPicPr>
            <a:picLocks noChangeAspect="1"/>
          </p:cNvPicPr>
          <p:nvPr/>
        </p:nvPicPr>
        <p:blipFill rotWithShape="1">
          <a:blip r:embed="rId8">
            <a:extLst>
              <a:ext uri="{BEBA8EAE-BF5A-486C-A8C5-ECC9F3942E4B}">
                <a14:imgProps xmlns:a14="http://schemas.microsoft.com/office/drawing/2010/main">
                  <a14:imgLayer r:embed="rId9">
                    <a14:imgEffect>
                      <a14:backgroundRemoval t="13221" b="90358" l="10000" r="90000"/>
                    </a14:imgEffect>
                  </a14:imgLayer>
                </a14:imgProps>
              </a:ext>
            </a:extLst>
          </a:blip>
          <a:srcRect t="3579" b="-1"/>
          <a:stretch/>
        </p:blipFill>
        <p:spPr>
          <a:xfrm>
            <a:off x="7925917" y="3294294"/>
            <a:ext cx="495263" cy="552316"/>
          </a:xfrm>
          <a:prstGeom prst="rect">
            <a:avLst/>
          </a:prstGeom>
        </p:spPr>
      </p:pic>
      <p:sp>
        <p:nvSpPr>
          <p:cNvPr id="80" name="ee4pContent3">
            <a:extLst>
              <a:ext uri="{FF2B5EF4-FFF2-40B4-BE49-F238E27FC236}">
                <a16:creationId xmlns:a16="http://schemas.microsoft.com/office/drawing/2014/main" id="{2470A2D2-8440-44AE-BECE-ED1942F42726}"/>
              </a:ext>
            </a:extLst>
          </p:cNvPr>
          <p:cNvSpPr txBox="1"/>
          <p:nvPr/>
        </p:nvSpPr>
        <p:spPr>
          <a:xfrm>
            <a:off x="1659152" y="2562807"/>
            <a:ext cx="1080000" cy="555029"/>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r>
              <a:rPr lang="de-DE" sz="800" dirty="0">
                <a:solidFill>
                  <a:srgbClr val="575757"/>
                </a:solidFill>
                <a:latin typeface="+mn-lt"/>
              </a:rPr>
              <a:t>Gefäß für den Transport</a:t>
            </a:r>
            <a:br>
              <a:rPr lang="de-DE" sz="800" dirty="0">
                <a:solidFill>
                  <a:srgbClr val="575757"/>
                </a:solidFill>
                <a:latin typeface="+mn-lt"/>
              </a:rPr>
            </a:br>
            <a:r>
              <a:rPr lang="de-DE" sz="800" dirty="0">
                <a:solidFill>
                  <a:srgbClr val="575757"/>
                </a:solidFill>
                <a:latin typeface="+mn-lt"/>
              </a:rPr>
              <a:t>und Analyse der Abstrichtupfer</a:t>
            </a:r>
            <a:br>
              <a:rPr lang="de-DE" sz="800" dirty="0">
                <a:solidFill>
                  <a:srgbClr val="575757"/>
                </a:solidFill>
                <a:latin typeface="+mn-lt"/>
              </a:rPr>
            </a:br>
            <a:r>
              <a:rPr lang="de-DE" sz="800" dirty="0">
                <a:solidFill>
                  <a:srgbClr val="575757"/>
                </a:solidFill>
                <a:latin typeface="+mn-lt"/>
              </a:rPr>
              <a:t>bei der Pooltestung</a:t>
            </a:r>
          </a:p>
        </p:txBody>
      </p:sp>
      <p:sp>
        <p:nvSpPr>
          <p:cNvPr id="35" name="Oval 34">
            <a:extLst>
              <a:ext uri="{FF2B5EF4-FFF2-40B4-BE49-F238E27FC236}">
                <a16:creationId xmlns:a16="http://schemas.microsoft.com/office/drawing/2014/main" id="{93E7C259-822E-4DBE-A291-4B0E4CAA5611}"/>
              </a:ext>
            </a:extLst>
          </p:cNvPr>
          <p:cNvSpPr/>
          <p:nvPr/>
        </p:nvSpPr>
        <p:spPr>
          <a:xfrm>
            <a:off x="1836596" y="3207895"/>
            <a:ext cx="725112" cy="725112"/>
          </a:xfrm>
          <a:prstGeom prst="ellipse">
            <a:avLst/>
          </a:prstGeom>
          <a:grpFill/>
          <a:ln w="19050">
            <a:gradFill flip="none" rotWithShape="1">
              <a:gsLst>
                <a:gs pos="0">
                  <a:srgbClr val="003B59"/>
                </a:gs>
                <a:gs pos="100000">
                  <a:srgbClr val="A8BCCF"/>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spcAft>
                <a:spcPts val="0"/>
              </a:spcAft>
            </a:pPr>
            <a:endParaRPr lang="de-DE" sz="1600" kern="0" dirty="0">
              <a:solidFill>
                <a:schemeClr val="bg1">
                  <a:lumMod val="50000"/>
                </a:schemeClr>
              </a:solidFill>
            </a:endParaRPr>
          </a:p>
        </p:txBody>
      </p:sp>
      <p:pic>
        <p:nvPicPr>
          <p:cNvPr id="51" name="Picture 50">
            <a:extLst>
              <a:ext uri="{FF2B5EF4-FFF2-40B4-BE49-F238E27FC236}">
                <a16:creationId xmlns:a16="http://schemas.microsoft.com/office/drawing/2014/main" id="{AF848DDE-97F1-4DC5-BA61-7B518532E708}"/>
              </a:ext>
            </a:extLst>
          </p:cNvPr>
          <p:cNvPicPr>
            <a:picLocks noChangeAspect="1"/>
          </p:cNvPicPr>
          <p:nvPr/>
        </p:nvPicPr>
        <p:blipFill>
          <a:blip r:embed="rId10"/>
          <a:stretch>
            <a:fillRect/>
          </a:stretch>
        </p:blipFill>
        <p:spPr>
          <a:xfrm>
            <a:off x="2099916" y="3305626"/>
            <a:ext cx="198471" cy="529650"/>
          </a:xfrm>
          <a:prstGeom prst="rect">
            <a:avLst/>
          </a:prstGeom>
        </p:spPr>
      </p:pic>
      <p:sp>
        <p:nvSpPr>
          <p:cNvPr id="72" name="ee4pContent1">
            <a:extLst>
              <a:ext uri="{FF2B5EF4-FFF2-40B4-BE49-F238E27FC236}">
                <a16:creationId xmlns:a16="http://schemas.microsoft.com/office/drawing/2014/main" id="{1127A1A1-20E4-4415-A45B-500355051801}"/>
              </a:ext>
            </a:extLst>
          </p:cNvPr>
          <p:cNvSpPr txBox="1"/>
          <p:nvPr/>
        </p:nvSpPr>
        <p:spPr>
          <a:xfrm>
            <a:off x="472502" y="2562806"/>
            <a:ext cx="1080000" cy="403866"/>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r>
              <a:rPr lang="de-DE" sz="800" dirty="0">
                <a:solidFill>
                  <a:srgbClr val="575757"/>
                </a:solidFill>
                <a:latin typeface="+mn-lt"/>
              </a:rPr>
              <a:t>Medium zur Probenentnahme für die Pooltestung</a:t>
            </a:r>
          </a:p>
        </p:txBody>
      </p:sp>
      <p:sp>
        <p:nvSpPr>
          <p:cNvPr id="34" name="Oval 33">
            <a:extLst>
              <a:ext uri="{FF2B5EF4-FFF2-40B4-BE49-F238E27FC236}">
                <a16:creationId xmlns:a16="http://schemas.microsoft.com/office/drawing/2014/main" id="{2D7E25B5-13BC-4C8A-9D25-EC532F085577}"/>
              </a:ext>
            </a:extLst>
          </p:cNvPr>
          <p:cNvSpPr/>
          <p:nvPr/>
        </p:nvSpPr>
        <p:spPr>
          <a:xfrm>
            <a:off x="649946" y="3207895"/>
            <a:ext cx="725112" cy="725112"/>
          </a:xfrm>
          <a:prstGeom prst="ellipse">
            <a:avLst/>
          </a:prstGeom>
          <a:grpFill/>
          <a:ln w="19050">
            <a:gradFill flip="none" rotWithShape="1">
              <a:gsLst>
                <a:gs pos="0">
                  <a:srgbClr val="003B59"/>
                </a:gs>
                <a:gs pos="100000">
                  <a:srgbClr val="A8BCCF"/>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spcAft>
                <a:spcPts val="0"/>
              </a:spcAft>
            </a:pPr>
            <a:endParaRPr lang="de-DE" sz="1600" kern="0" dirty="0">
              <a:solidFill>
                <a:schemeClr val="bg1">
                  <a:lumMod val="50000"/>
                </a:schemeClr>
              </a:solidFill>
            </a:endParaRPr>
          </a:p>
        </p:txBody>
      </p:sp>
      <p:pic>
        <p:nvPicPr>
          <p:cNvPr id="58" name="Picture 57">
            <a:extLst>
              <a:ext uri="{FF2B5EF4-FFF2-40B4-BE49-F238E27FC236}">
                <a16:creationId xmlns:a16="http://schemas.microsoft.com/office/drawing/2014/main" id="{BAC1DC63-7990-4B58-A69E-D712628026E8}"/>
              </a:ext>
            </a:extLst>
          </p:cNvPr>
          <p:cNvPicPr>
            <a:picLocks noChangeAspect="1"/>
          </p:cNvPicPr>
          <p:nvPr/>
        </p:nvPicPr>
        <p:blipFill rotWithShape="1">
          <a:blip r:embed="rId11"/>
          <a:srcRect l="26789" t="10724" r="25296" b="10458"/>
          <a:stretch/>
        </p:blipFill>
        <p:spPr>
          <a:xfrm rot="19757012">
            <a:off x="808705" y="3319025"/>
            <a:ext cx="407595" cy="502853"/>
          </a:xfrm>
          <a:prstGeom prst="rect">
            <a:avLst/>
          </a:prstGeom>
        </p:spPr>
      </p:pic>
      <p:sp>
        <p:nvSpPr>
          <p:cNvPr id="57" name="ee4pContent4">
            <a:extLst>
              <a:ext uri="{FF2B5EF4-FFF2-40B4-BE49-F238E27FC236}">
                <a16:creationId xmlns:a16="http://schemas.microsoft.com/office/drawing/2014/main" id="{DBDB8378-D920-425E-9E73-6126BD127A99}"/>
              </a:ext>
            </a:extLst>
          </p:cNvPr>
          <p:cNvSpPr txBox="1"/>
          <p:nvPr/>
        </p:nvSpPr>
        <p:spPr>
          <a:xfrm>
            <a:off x="6405752" y="2561740"/>
            <a:ext cx="1080000" cy="276999"/>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buNone/>
            </a:pPr>
            <a:r>
              <a:rPr lang="de-DE" sz="800" dirty="0">
                <a:solidFill>
                  <a:srgbClr val="575757"/>
                </a:solidFill>
                <a:latin typeface="+mn-lt"/>
              </a:rPr>
              <a:t>Clip für den Verschluss von Kreuzbodenbeuteln</a:t>
            </a:r>
          </a:p>
        </p:txBody>
      </p:sp>
      <p:sp>
        <p:nvSpPr>
          <p:cNvPr id="67" name="Oval 66">
            <a:extLst>
              <a:ext uri="{FF2B5EF4-FFF2-40B4-BE49-F238E27FC236}">
                <a16:creationId xmlns:a16="http://schemas.microsoft.com/office/drawing/2014/main" id="{F4A27161-7AE7-4797-A617-BBC2F69920D8}"/>
              </a:ext>
            </a:extLst>
          </p:cNvPr>
          <p:cNvSpPr/>
          <p:nvPr/>
        </p:nvSpPr>
        <p:spPr>
          <a:xfrm>
            <a:off x="6583196" y="3207895"/>
            <a:ext cx="725112" cy="725112"/>
          </a:xfrm>
          <a:prstGeom prst="ellipse">
            <a:avLst/>
          </a:prstGeom>
          <a:grpFill/>
          <a:ln w="19050">
            <a:gradFill flip="none" rotWithShape="1">
              <a:gsLst>
                <a:gs pos="53000">
                  <a:srgbClr val="A8BCCF"/>
                </a:gs>
                <a:gs pos="4000">
                  <a:srgbClr val="4C7895"/>
                </a:gs>
                <a:gs pos="92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spcAft>
                <a:spcPts val="0"/>
              </a:spcAft>
            </a:pPr>
            <a:endParaRPr lang="de-DE" sz="1600" kern="0" dirty="0">
              <a:solidFill>
                <a:schemeClr val="bg1">
                  <a:lumMod val="50000"/>
                </a:schemeClr>
              </a:solidFill>
            </a:endParaRPr>
          </a:p>
        </p:txBody>
      </p:sp>
      <p:pic>
        <p:nvPicPr>
          <p:cNvPr id="68" name="Picture 67">
            <a:extLst>
              <a:ext uri="{FF2B5EF4-FFF2-40B4-BE49-F238E27FC236}">
                <a16:creationId xmlns:a16="http://schemas.microsoft.com/office/drawing/2014/main" id="{AFBF9E74-CE8A-41CD-AA88-9DF8F6BAF7AE}"/>
              </a:ext>
            </a:extLst>
          </p:cNvPr>
          <p:cNvPicPr>
            <a:picLocks noChangeAspect="1"/>
          </p:cNvPicPr>
          <p:nvPr/>
        </p:nvPicPr>
        <p:blipFill rotWithShape="1">
          <a:blip r:embed="rId12"/>
          <a:srcRect l="5005" r="5005"/>
          <a:stretch/>
        </p:blipFill>
        <p:spPr>
          <a:xfrm>
            <a:off x="6722884" y="3321909"/>
            <a:ext cx="445737" cy="497084"/>
          </a:xfrm>
          <a:prstGeom prst="rect">
            <a:avLst/>
          </a:prstGeom>
        </p:spPr>
      </p:pic>
      <p:sp>
        <p:nvSpPr>
          <p:cNvPr id="69" name="ee4pContent4">
            <a:extLst>
              <a:ext uri="{FF2B5EF4-FFF2-40B4-BE49-F238E27FC236}">
                <a16:creationId xmlns:a16="http://schemas.microsoft.com/office/drawing/2014/main" id="{2671FEBD-DAF7-4A10-B49A-F1FE045DF803}"/>
              </a:ext>
            </a:extLst>
          </p:cNvPr>
          <p:cNvSpPr txBox="1"/>
          <p:nvPr/>
        </p:nvSpPr>
        <p:spPr>
          <a:xfrm>
            <a:off x="5219102" y="2561740"/>
            <a:ext cx="1080000" cy="276999"/>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buNone/>
            </a:pPr>
            <a:r>
              <a:rPr lang="de-DE" sz="800" dirty="0">
                <a:solidFill>
                  <a:srgbClr val="575757"/>
                </a:solidFill>
                <a:latin typeface="+mn-lt"/>
              </a:rPr>
              <a:t>Beutel für die Sammlung und den Transport mehrerer Einweg-Plastikbeutel</a:t>
            </a:r>
          </a:p>
        </p:txBody>
      </p:sp>
      <p:sp>
        <p:nvSpPr>
          <p:cNvPr id="74" name="Oval 73">
            <a:extLst>
              <a:ext uri="{FF2B5EF4-FFF2-40B4-BE49-F238E27FC236}">
                <a16:creationId xmlns:a16="http://schemas.microsoft.com/office/drawing/2014/main" id="{A851FAFA-88AD-4C51-85AA-2580CDE4100E}"/>
              </a:ext>
            </a:extLst>
          </p:cNvPr>
          <p:cNvSpPr/>
          <p:nvPr/>
        </p:nvSpPr>
        <p:spPr>
          <a:xfrm>
            <a:off x="5396546" y="3207895"/>
            <a:ext cx="725112" cy="725112"/>
          </a:xfrm>
          <a:prstGeom prst="ellipse">
            <a:avLst/>
          </a:prstGeom>
          <a:grpFill/>
          <a:ln w="19050">
            <a:gradFill flip="none" rotWithShape="1">
              <a:gsLst>
                <a:gs pos="53000">
                  <a:srgbClr val="A8BCCF"/>
                </a:gs>
                <a:gs pos="4000">
                  <a:srgbClr val="4C7895"/>
                </a:gs>
                <a:gs pos="92000">
                  <a:schemeClr val="bg1"/>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spcAft>
                <a:spcPts val="0"/>
              </a:spcAft>
            </a:pPr>
            <a:endParaRPr lang="de-DE" sz="1600" kern="0" dirty="0">
              <a:solidFill>
                <a:schemeClr val="bg1">
                  <a:lumMod val="50000"/>
                </a:schemeClr>
              </a:solidFill>
            </a:endParaRPr>
          </a:p>
        </p:txBody>
      </p:sp>
      <p:pic>
        <p:nvPicPr>
          <p:cNvPr id="75" name="Picture 74">
            <a:extLst>
              <a:ext uri="{FF2B5EF4-FFF2-40B4-BE49-F238E27FC236}">
                <a16:creationId xmlns:a16="http://schemas.microsoft.com/office/drawing/2014/main" id="{CD56B914-9AA3-436D-BFA5-6C43631BD454}"/>
              </a:ext>
            </a:extLst>
          </p:cNvPr>
          <p:cNvPicPr>
            <a:picLocks noChangeAspect="1"/>
          </p:cNvPicPr>
          <p:nvPr/>
        </p:nvPicPr>
        <p:blipFill rotWithShape="1">
          <a:blip r:embed="rId13"/>
          <a:srcRect l="5165" r="5165"/>
          <a:stretch/>
        </p:blipFill>
        <p:spPr>
          <a:xfrm>
            <a:off x="5536234" y="3321909"/>
            <a:ext cx="445737" cy="497084"/>
          </a:xfrm>
          <a:prstGeom prst="rect">
            <a:avLst/>
          </a:prstGeom>
        </p:spPr>
      </p:pic>
      <p:sp>
        <p:nvSpPr>
          <p:cNvPr id="113" name="ee4pContent4">
            <a:extLst>
              <a:ext uri="{FF2B5EF4-FFF2-40B4-BE49-F238E27FC236}">
                <a16:creationId xmlns:a16="http://schemas.microsoft.com/office/drawing/2014/main" id="{F9F95079-3D98-462C-AE60-9981F129D921}"/>
              </a:ext>
            </a:extLst>
          </p:cNvPr>
          <p:cNvSpPr txBox="1"/>
          <p:nvPr/>
        </p:nvSpPr>
        <p:spPr>
          <a:xfrm>
            <a:off x="7592400" y="2561740"/>
            <a:ext cx="1080000" cy="276999"/>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r>
              <a:rPr lang="de-DE" sz="800" dirty="0">
                <a:solidFill>
                  <a:srgbClr val="575757"/>
                </a:solidFill>
                <a:latin typeface="+mn-lt"/>
              </a:rPr>
              <a:t>Transport-Box, </a:t>
            </a:r>
            <a:br>
              <a:rPr lang="de-DE" sz="800" dirty="0">
                <a:solidFill>
                  <a:srgbClr val="575757"/>
                </a:solidFill>
                <a:latin typeface="+mn-lt"/>
              </a:rPr>
            </a:br>
            <a:r>
              <a:rPr lang="de-DE" sz="800" dirty="0">
                <a:solidFill>
                  <a:srgbClr val="575757"/>
                </a:solidFill>
                <a:latin typeface="+mn-lt"/>
              </a:rPr>
              <a:t>ggfs. mit Flies gegen</a:t>
            </a:r>
            <a:br>
              <a:rPr lang="de-DE" sz="800" dirty="0">
                <a:solidFill>
                  <a:srgbClr val="575757"/>
                </a:solidFill>
                <a:latin typeface="+mn-lt"/>
              </a:rPr>
            </a:br>
            <a:r>
              <a:rPr lang="de-DE" sz="800" dirty="0">
                <a:solidFill>
                  <a:srgbClr val="575757"/>
                </a:solidFill>
                <a:latin typeface="+mn-lt"/>
              </a:rPr>
              <a:t>austretenden Flüssigkeiten</a:t>
            </a:r>
          </a:p>
        </p:txBody>
      </p:sp>
      <p:sp>
        <p:nvSpPr>
          <p:cNvPr id="92" name="Rectangle 91">
            <a:extLst>
              <a:ext uri="{FF2B5EF4-FFF2-40B4-BE49-F238E27FC236}">
                <a16:creationId xmlns:a16="http://schemas.microsoft.com/office/drawing/2014/main" id="{AF329C88-C042-495B-9F1A-F91CA549E43C}"/>
              </a:ext>
            </a:extLst>
          </p:cNvPr>
          <p:cNvSpPr/>
          <p:nvPr/>
        </p:nvSpPr>
        <p:spPr>
          <a:xfrm>
            <a:off x="6408102" y="1635342"/>
            <a:ext cx="1013140" cy="23811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1200" i="1" dirty="0">
                <a:solidFill>
                  <a:srgbClr val="4C7895"/>
                </a:solidFill>
              </a:rPr>
              <a:t>Transport</a:t>
            </a:r>
          </a:p>
        </p:txBody>
      </p:sp>
      <p:sp>
        <p:nvSpPr>
          <p:cNvPr id="52" name="ee4pContent3">
            <a:extLst>
              <a:ext uri="{FF2B5EF4-FFF2-40B4-BE49-F238E27FC236}">
                <a16:creationId xmlns:a16="http://schemas.microsoft.com/office/drawing/2014/main" id="{5882B049-4759-4AAB-89CC-768EA8D2D5F2}"/>
              </a:ext>
            </a:extLst>
          </p:cNvPr>
          <p:cNvSpPr txBox="1"/>
          <p:nvPr/>
        </p:nvSpPr>
        <p:spPr>
          <a:xfrm>
            <a:off x="2845802" y="2562807"/>
            <a:ext cx="1080000" cy="555029"/>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buNone/>
            </a:pPr>
            <a:r>
              <a:rPr lang="de-DE" sz="800" dirty="0">
                <a:solidFill>
                  <a:srgbClr val="575757"/>
                </a:solidFill>
                <a:latin typeface="+mn-lt"/>
              </a:rPr>
              <a:t>Beutel für die Sammlung und den Transport der Gefäße mit Proben</a:t>
            </a:r>
          </a:p>
        </p:txBody>
      </p:sp>
      <p:sp>
        <p:nvSpPr>
          <p:cNvPr id="55" name="Oval 54">
            <a:extLst>
              <a:ext uri="{FF2B5EF4-FFF2-40B4-BE49-F238E27FC236}">
                <a16:creationId xmlns:a16="http://schemas.microsoft.com/office/drawing/2014/main" id="{28ACE991-B25E-454B-A918-71478AB70795}"/>
              </a:ext>
            </a:extLst>
          </p:cNvPr>
          <p:cNvSpPr/>
          <p:nvPr/>
        </p:nvSpPr>
        <p:spPr>
          <a:xfrm>
            <a:off x="3023246" y="3207895"/>
            <a:ext cx="725112" cy="725112"/>
          </a:xfrm>
          <a:prstGeom prst="ellipse">
            <a:avLst/>
          </a:prstGeom>
          <a:grpFill/>
          <a:ln w="19050">
            <a:gradFill flip="none" rotWithShape="1">
              <a:gsLst>
                <a:gs pos="0">
                  <a:srgbClr val="003B59"/>
                </a:gs>
                <a:gs pos="100000">
                  <a:srgbClr val="A8BCCF"/>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spcAft>
                <a:spcPts val="0"/>
              </a:spcAft>
            </a:pPr>
            <a:endParaRPr lang="de-DE" sz="1600" kern="0" dirty="0">
              <a:solidFill>
                <a:schemeClr val="bg1">
                  <a:lumMod val="50000"/>
                </a:schemeClr>
              </a:solidFill>
            </a:endParaRPr>
          </a:p>
        </p:txBody>
      </p:sp>
      <p:pic>
        <p:nvPicPr>
          <p:cNvPr id="56" name="Picture 55">
            <a:extLst>
              <a:ext uri="{FF2B5EF4-FFF2-40B4-BE49-F238E27FC236}">
                <a16:creationId xmlns:a16="http://schemas.microsoft.com/office/drawing/2014/main" id="{2976BBAB-9764-451B-B164-87BA8CEE8DB3}"/>
              </a:ext>
            </a:extLst>
          </p:cNvPr>
          <p:cNvPicPr>
            <a:picLocks noChangeAspect="1"/>
          </p:cNvPicPr>
          <p:nvPr/>
        </p:nvPicPr>
        <p:blipFill rotWithShape="1">
          <a:blip r:embed="rId14"/>
          <a:srcRect l="9472" r="9472"/>
          <a:stretch/>
        </p:blipFill>
        <p:spPr>
          <a:xfrm rot="19757012">
            <a:off x="3182005" y="3319024"/>
            <a:ext cx="407596" cy="502853"/>
          </a:xfrm>
          <a:prstGeom prst="rect">
            <a:avLst/>
          </a:prstGeom>
        </p:spPr>
      </p:pic>
      <p:sp>
        <p:nvSpPr>
          <p:cNvPr id="43" name="ee4pContent3">
            <a:extLst>
              <a:ext uri="{FF2B5EF4-FFF2-40B4-BE49-F238E27FC236}">
                <a16:creationId xmlns:a16="http://schemas.microsoft.com/office/drawing/2014/main" id="{01786827-86B5-47E7-9653-92FBA6445297}"/>
              </a:ext>
            </a:extLst>
          </p:cNvPr>
          <p:cNvSpPr txBox="1"/>
          <p:nvPr/>
        </p:nvSpPr>
        <p:spPr>
          <a:xfrm>
            <a:off x="4032452" y="2562807"/>
            <a:ext cx="1127038" cy="555029"/>
          </a:xfrm>
          <a:prstGeom prst="rect">
            <a:avLst/>
          </a:prstGeom>
          <a:ln cap="rnd">
            <a:noFill/>
          </a:ln>
        </p:spPr>
        <p:txBody>
          <a:bodyPr vert="horz" lIns="0" tIns="0" rIns="0" bIns="0" rtlCol="0">
            <a:noAutofit/>
          </a:bodyPr>
          <a:lstStyle>
            <a:lvl1pPr lvl="0" indent="0">
              <a:lnSpc>
                <a:spcPct val="100000"/>
              </a:lnSpc>
              <a:spcBef>
                <a:spcPts val="0"/>
              </a:spcBef>
              <a:spcAft>
                <a:spcPts val="0"/>
              </a:spcAft>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lang="en-US" sz="12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lang="en-US" sz="16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lang="en-US" sz="1600" b="1" smtClean="0">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lang="en-US" sz="1600" smtClean="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lang="en-US" sz="4400" baseline="0" smtClean="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lang="en-US" sz="5400" baseline="0" smtClean="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lang="en-US" sz="2400" baseline="0" dirty="0">
                <a:solidFill>
                  <a:schemeClr val="tx2"/>
                </a:solidFill>
                <a:latin typeface="Trebuchet MS" panose="020B0603020202020204" pitchFamily="34" charset="0"/>
                <a:sym typeface="Trebuchet MS" panose="020B0603020202020204" pitchFamily="34" charset="0"/>
              </a:defRPr>
            </a:lvl9pPr>
          </a:lstStyle>
          <a:p>
            <a:pPr algn="ctr"/>
            <a:r>
              <a:rPr lang="de-DE" sz="800" dirty="0">
                <a:solidFill>
                  <a:srgbClr val="575757"/>
                </a:solidFill>
                <a:latin typeface="+mn-lt"/>
              </a:rPr>
              <a:t>Medium und Gefäß für den Transport zur Proben-entnahme für Individualproben (z.B. Rückstellproben)</a:t>
            </a:r>
          </a:p>
        </p:txBody>
      </p:sp>
      <p:sp>
        <p:nvSpPr>
          <p:cNvPr id="46" name="Oval 45">
            <a:extLst>
              <a:ext uri="{FF2B5EF4-FFF2-40B4-BE49-F238E27FC236}">
                <a16:creationId xmlns:a16="http://schemas.microsoft.com/office/drawing/2014/main" id="{0F63A97F-732C-4338-B513-8ABB5DAA0F95}"/>
              </a:ext>
            </a:extLst>
          </p:cNvPr>
          <p:cNvSpPr/>
          <p:nvPr/>
        </p:nvSpPr>
        <p:spPr>
          <a:xfrm>
            <a:off x="4209896" y="3207895"/>
            <a:ext cx="725112" cy="725112"/>
          </a:xfrm>
          <a:prstGeom prst="ellipse">
            <a:avLst/>
          </a:prstGeom>
          <a:grpFill/>
          <a:ln w="19050">
            <a:gradFill flip="none" rotWithShape="1">
              <a:gsLst>
                <a:gs pos="0">
                  <a:srgbClr val="003B59"/>
                </a:gs>
                <a:gs pos="100000">
                  <a:srgbClr val="A8BCCF"/>
                </a:gs>
              </a:gsLst>
              <a:lin ang="162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spcBef>
                <a:spcPts val="0"/>
              </a:spcBef>
              <a:spcAft>
                <a:spcPts val="0"/>
              </a:spcAft>
            </a:pPr>
            <a:endParaRPr lang="de-DE" sz="1600" kern="0" dirty="0">
              <a:solidFill>
                <a:schemeClr val="bg1">
                  <a:lumMod val="50000"/>
                </a:schemeClr>
              </a:solidFill>
            </a:endParaRPr>
          </a:p>
        </p:txBody>
      </p:sp>
      <p:pic>
        <p:nvPicPr>
          <p:cNvPr id="48" name="Picture 47">
            <a:extLst>
              <a:ext uri="{FF2B5EF4-FFF2-40B4-BE49-F238E27FC236}">
                <a16:creationId xmlns:a16="http://schemas.microsoft.com/office/drawing/2014/main" id="{2EF59299-11AC-490B-A2A9-A2E22C6CD581}"/>
              </a:ext>
            </a:extLst>
          </p:cNvPr>
          <p:cNvPicPr>
            <a:picLocks noChangeAspect="1"/>
          </p:cNvPicPr>
          <p:nvPr/>
        </p:nvPicPr>
        <p:blipFill rotWithShape="1">
          <a:blip r:embed="rId15"/>
          <a:srcRect l="9339" r="9339"/>
          <a:stretch/>
        </p:blipFill>
        <p:spPr>
          <a:xfrm rot="19757012">
            <a:off x="4368655" y="3319024"/>
            <a:ext cx="407595" cy="502853"/>
          </a:xfrm>
          <a:prstGeom prst="rect">
            <a:avLst/>
          </a:prstGeom>
        </p:spPr>
      </p:pic>
      <p:sp>
        <p:nvSpPr>
          <p:cNvPr id="76" name="ee4pHeader3">
            <a:extLst>
              <a:ext uri="{FF2B5EF4-FFF2-40B4-BE49-F238E27FC236}">
                <a16:creationId xmlns:a16="http://schemas.microsoft.com/office/drawing/2014/main" id="{19FBFFF9-2535-403A-8F60-6153CB376E62}"/>
              </a:ext>
            </a:extLst>
          </p:cNvPr>
          <p:cNvSpPr txBox="1"/>
          <p:nvPr/>
        </p:nvSpPr>
        <p:spPr>
          <a:xfrm>
            <a:off x="4052441" y="2185196"/>
            <a:ext cx="1080000" cy="184666"/>
          </a:xfrm>
          <a:prstGeom prst="rect">
            <a:avLst/>
          </a:prstGeom>
          <a:noFill/>
          <a:ln cap="rnd">
            <a:noFill/>
          </a:ln>
        </p:spPr>
        <p:txBody>
          <a:bodyPr wrap="square" lIns="0" tIns="0" rIns="0" bIns="0" rtlCol="0" anchor="b" anchorCtr="0">
            <a:noAutofit/>
          </a:bodyPr>
          <a:lstStyle/>
          <a:p>
            <a:pPr marL="0" lvl="3" algn="ctr"/>
            <a:r>
              <a:rPr lang="de-DE" sz="900" i="1" dirty="0">
                <a:solidFill>
                  <a:srgbClr val="003B59"/>
                </a:solidFill>
              </a:rPr>
              <a:t>Abstrichtupfer </a:t>
            </a:r>
          </a:p>
          <a:p>
            <a:pPr marL="0" lvl="3" algn="ctr"/>
            <a:r>
              <a:rPr lang="de-DE" sz="900" i="1" dirty="0">
                <a:solidFill>
                  <a:srgbClr val="003B59"/>
                </a:solidFill>
              </a:rPr>
              <a:t>im Transportrohr</a:t>
            </a:r>
          </a:p>
        </p:txBody>
      </p:sp>
      <p:sp>
        <p:nvSpPr>
          <p:cNvPr id="77" name="ee4pHeader1">
            <a:extLst>
              <a:ext uri="{FF2B5EF4-FFF2-40B4-BE49-F238E27FC236}">
                <a16:creationId xmlns:a16="http://schemas.microsoft.com/office/drawing/2014/main" id="{3838778C-CA4F-43CA-AE24-E6405B7C07F1}"/>
              </a:ext>
            </a:extLst>
          </p:cNvPr>
          <p:cNvSpPr txBox="1"/>
          <p:nvPr/>
        </p:nvSpPr>
        <p:spPr>
          <a:xfrm>
            <a:off x="507774" y="2185196"/>
            <a:ext cx="1080000" cy="184666"/>
          </a:xfrm>
          <a:prstGeom prst="rect">
            <a:avLst/>
          </a:prstGeom>
          <a:noFill/>
          <a:ln cap="rnd">
            <a:noFill/>
          </a:ln>
        </p:spPr>
        <p:txBody>
          <a:bodyPr wrap="square" lIns="0" tIns="0" rIns="0" bIns="0" rtlCol="0" anchor="b" anchorCtr="0">
            <a:noAutofit/>
          </a:bodyPr>
          <a:lstStyle/>
          <a:p>
            <a:pPr marL="0" lvl="3" algn="ctr"/>
            <a:r>
              <a:rPr lang="de-DE" sz="900" i="1" dirty="0">
                <a:solidFill>
                  <a:srgbClr val="003B59"/>
                </a:solidFill>
              </a:rPr>
              <a:t>Abstrichtupfer</a:t>
            </a:r>
          </a:p>
        </p:txBody>
      </p:sp>
      <p:sp>
        <p:nvSpPr>
          <p:cNvPr id="79" name="ee4pHeader3">
            <a:extLst>
              <a:ext uri="{FF2B5EF4-FFF2-40B4-BE49-F238E27FC236}">
                <a16:creationId xmlns:a16="http://schemas.microsoft.com/office/drawing/2014/main" id="{16ACB7FA-9817-4F5F-875E-5DA34078AD76}"/>
              </a:ext>
            </a:extLst>
          </p:cNvPr>
          <p:cNvSpPr txBox="1"/>
          <p:nvPr/>
        </p:nvSpPr>
        <p:spPr>
          <a:xfrm>
            <a:off x="1689330" y="2185196"/>
            <a:ext cx="1080000" cy="184666"/>
          </a:xfrm>
          <a:prstGeom prst="rect">
            <a:avLst/>
          </a:prstGeom>
          <a:noFill/>
          <a:ln cap="rnd">
            <a:noFill/>
          </a:ln>
        </p:spPr>
        <p:txBody>
          <a:bodyPr wrap="square" lIns="0" tIns="0" rIns="0" bIns="0" rtlCol="0" anchor="b" anchorCtr="0">
            <a:noAutofit/>
          </a:bodyPr>
          <a:lstStyle/>
          <a:p>
            <a:pPr marL="0" lvl="3" algn="ctr"/>
            <a:r>
              <a:rPr lang="de-DE" sz="900" i="1" dirty="0">
                <a:solidFill>
                  <a:srgbClr val="003B59"/>
                </a:solidFill>
              </a:rPr>
              <a:t>Falcon-</a:t>
            </a:r>
            <a:r>
              <a:rPr lang="de-DE" sz="900" i="1" dirty="0" err="1">
                <a:solidFill>
                  <a:srgbClr val="003B59"/>
                </a:solidFill>
              </a:rPr>
              <a:t>Tubes</a:t>
            </a:r>
            <a:endParaRPr lang="de-DE" sz="900" i="1" dirty="0">
              <a:solidFill>
                <a:srgbClr val="003B59"/>
              </a:solidFill>
            </a:endParaRPr>
          </a:p>
        </p:txBody>
      </p:sp>
      <p:sp>
        <p:nvSpPr>
          <p:cNvPr id="82" name="ee4pHeader4">
            <a:extLst>
              <a:ext uri="{FF2B5EF4-FFF2-40B4-BE49-F238E27FC236}">
                <a16:creationId xmlns:a16="http://schemas.microsoft.com/office/drawing/2014/main" id="{4304DD1D-3091-4C9D-BE58-8E3CDFDCFF75}"/>
              </a:ext>
            </a:extLst>
          </p:cNvPr>
          <p:cNvSpPr txBox="1"/>
          <p:nvPr/>
        </p:nvSpPr>
        <p:spPr>
          <a:xfrm>
            <a:off x="5219102" y="2185195"/>
            <a:ext cx="1080000" cy="183600"/>
          </a:xfrm>
          <a:prstGeom prst="rect">
            <a:avLst/>
          </a:prstGeom>
          <a:noFill/>
          <a:ln cap="rnd">
            <a:noFill/>
          </a:ln>
        </p:spPr>
        <p:txBody>
          <a:bodyPr wrap="square" lIns="0" tIns="0" rIns="0" bIns="0" rtlCol="0" anchor="b" anchorCtr="0">
            <a:noAutofit/>
          </a:bodyPr>
          <a:lstStyle/>
          <a:p>
            <a:pPr marL="0" lvl="3" algn="ctr"/>
            <a:r>
              <a:rPr lang="de-DE" sz="900" i="1" dirty="0">
                <a:solidFill>
                  <a:srgbClr val="4C7895"/>
                </a:solidFill>
              </a:rPr>
              <a:t>Kreuzbodenbeutel</a:t>
            </a:r>
          </a:p>
        </p:txBody>
      </p:sp>
      <p:sp>
        <p:nvSpPr>
          <p:cNvPr id="87" name="ee4pHeader4">
            <a:extLst>
              <a:ext uri="{FF2B5EF4-FFF2-40B4-BE49-F238E27FC236}">
                <a16:creationId xmlns:a16="http://schemas.microsoft.com/office/drawing/2014/main" id="{B0F3D476-FFF4-4EFA-9C78-F4F71A80CF81}"/>
              </a:ext>
            </a:extLst>
          </p:cNvPr>
          <p:cNvSpPr txBox="1"/>
          <p:nvPr/>
        </p:nvSpPr>
        <p:spPr>
          <a:xfrm>
            <a:off x="6405752" y="2185195"/>
            <a:ext cx="1080000" cy="183600"/>
          </a:xfrm>
          <a:prstGeom prst="rect">
            <a:avLst/>
          </a:prstGeom>
          <a:noFill/>
          <a:ln cap="rnd">
            <a:noFill/>
          </a:ln>
        </p:spPr>
        <p:txBody>
          <a:bodyPr wrap="square" lIns="0" tIns="0" rIns="0" bIns="0" rtlCol="0" anchor="b" anchorCtr="0">
            <a:noAutofit/>
          </a:bodyPr>
          <a:lstStyle/>
          <a:p>
            <a:pPr marL="0" lvl="3" algn="ctr"/>
            <a:r>
              <a:rPr lang="de-DE" sz="900" i="1" dirty="0">
                <a:solidFill>
                  <a:srgbClr val="4C7895"/>
                </a:solidFill>
              </a:rPr>
              <a:t>Verschlussclip</a:t>
            </a:r>
          </a:p>
        </p:txBody>
      </p:sp>
      <p:sp>
        <p:nvSpPr>
          <p:cNvPr id="110" name="ee4pHeader4">
            <a:extLst>
              <a:ext uri="{FF2B5EF4-FFF2-40B4-BE49-F238E27FC236}">
                <a16:creationId xmlns:a16="http://schemas.microsoft.com/office/drawing/2014/main" id="{7B89AB7F-7881-42DE-95A4-07F188E9345A}"/>
              </a:ext>
            </a:extLst>
          </p:cNvPr>
          <p:cNvSpPr txBox="1"/>
          <p:nvPr/>
        </p:nvSpPr>
        <p:spPr>
          <a:xfrm>
            <a:off x="7592401" y="2185195"/>
            <a:ext cx="1080000" cy="183600"/>
          </a:xfrm>
          <a:prstGeom prst="rect">
            <a:avLst/>
          </a:prstGeom>
          <a:noFill/>
          <a:ln cap="rnd">
            <a:noFill/>
          </a:ln>
        </p:spPr>
        <p:txBody>
          <a:bodyPr wrap="square" lIns="0" tIns="0" rIns="0" bIns="0" rtlCol="0" anchor="b" anchorCtr="0">
            <a:noAutofit/>
          </a:bodyPr>
          <a:lstStyle/>
          <a:p>
            <a:pPr marL="0" lvl="3" algn="ctr"/>
            <a:r>
              <a:rPr lang="de-DE" sz="900" i="1" dirty="0">
                <a:solidFill>
                  <a:srgbClr val="4C7895"/>
                </a:solidFill>
              </a:rPr>
              <a:t>Transportboxen</a:t>
            </a:r>
          </a:p>
        </p:txBody>
      </p:sp>
      <p:sp>
        <p:nvSpPr>
          <p:cNvPr id="132" name="ee4pHeader3">
            <a:extLst>
              <a:ext uri="{FF2B5EF4-FFF2-40B4-BE49-F238E27FC236}">
                <a16:creationId xmlns:a16="http://schemas.microsoft.com/office/drawing/2014/main" id="{53127E36-D0AA-4ECD-B9FC-619FA04FF890}"/>
              </a:ext>
            </a:extLst>
          </p:cNvPr>
          <p:cNvSpPr txBox="1"/>
          <p:nvPr/>
        </p:nvSpPr>
        <p:spPr>
          <a:xfrm>
            <a:off x="2870886" y="2185196"/>
            <a:ext cx="1080000" cy="184666"/>
          </a:xfrm>
          <a:prstGeom prst="rect">
            <a:avLst/>
          </a:prstGeom>
          <a:noFill/>
          <a:ln cap="rnd">
            <a:noFill/>
          </a:ln>
        </p:spPr>
        <p:txBody>
          <a:bodyPr wrap="square" lIns="0" tIns="0" rIns="0" bIns="0" rtlCol="0" anchor="b" anchorCtr="0">
            <a:noAutofit/>
          </a:bodyPr>
          <a:lstStyle/>
          <a:p>
            <a:pPr marL="0" lvl="3" algn="ctr"/>
            <a:r>
              <a:rPr lang="de-DE" sz="900" i="1" dirty="0">
                <a:solidFill>
                  <a:srgbClr val="003B59"/>
                </a:solidFill>
              </a:rPr>
              <a:t>Einweg- </a:t>
            </a:r>
          </a:p>
          <a:p>
            <a:pPr marL="0" lvl="3" algn="ctr"/>
            <a:r>
              <a:rPr lang="de-DE" sz="900" i="1" dirty="0">
                <a:solidFill>
                  <a:srgbClr val="003B59"/>
                </a:solidFill>
              </a:rPr>
              <a:t>Plastikbeutel</a:t>
            </a:r>
          </a:p>
        </p:txBody>
      </p:sp>
      <p:cxnSp>
        <p:nvCxnSpPr>
          <p:cNvPr id="78" name="Straight Connector 77">
            <a:extLst>
              <a:ext uri="{FF2B5EF4-FFF2-40B4-BE49-F238E27FC236}">
                <a16:creationId xmlns:a16="http://schemas.microsoft.com/office/drawing/2014/main" id="{192F5119-0B90-44FD-95DB-4CA0D3D2EFC8}"/>
              </a:ext>
            </a:extLst>
          </p:cNvPr>
          <p:cNvCxnSpPr>
            <a:cxnSpLocks/>
          </p:cNvCxnSpPr>
          <p:nvPr/>
        </p:nvCxnSpPr>
        <p:spPr>
          <a:xfrm flipH="1">
            <a:off x="507774" y="1754401"/>
            <a:ext cx="4568282" cy="0"/>
          </a:xfrm>
          <a:prstGeom prst="line">
            <a:avLst/>
          </a:prstGeom>
          <a:ln w="19050" cap="rnd" cmpd="sng" algn="ctr">
            <a:solidFill>
              <a:srgbClr val="003B59"/>
            </a:solidFill>
            <a:prstDash val="solid"/>
            <a:round/>
            <a:headEnd type="oval" w="med" len="med"/>
            <a:tailEnd type="oval" w="med" len="med"/>
          </a:ln>
        </p:spPr>
        <p:style>
          <a:lnRef idx="1">
            <a:schemeClr val="accent1"/>
          </a:lnRef>
          <a:fillRef idx="0">
            <a:schemeClr val="accent1"/>
          </a:fillRef>
          <a:effectRef idx="0">
            <a:schemeClr val="accent1"/>
          </a:effectRef>
          <a:fontRef idx="minor">
            <a:schemeClr val="tx1"/>
          </a:fontRef>
        </p:style>
      </p:cxnSp>
      <p:sp>
        <p:nvSpPr>
          <p:cNvPr id="112" name="Rectangle 111">
            <a:extLst>
              <a:ext uri="{FF2B5EF4-FFF2-40B4-BE49-F238E27FC236}">
                <a16:creationId xmlns:a16="http://schemas.microsoft.com/office/drawing/2014/main" id="{99C47500-36AF-4B56-9661-AD303D0DDF88}"/>
              </a:ext>
            </a:extLst>
          </p:cNvPr>
          <p:cNvSpPr/>
          <p:nvPr/>
        </p:nvSpPr>
        <p:spPr>
          <a:xfrm>
            <a:off x="2108342" y="1635342"/>
            <a:ext cx="1367146" cy="23811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de-DE" sz="1200" i="1" dirty="0">
                <a:solidFill>
                  <a:srgbClr val="003B59"/>
                </a:solidFill>
              </a:rPr>
              <a:t>Testdurchführung</a:t>
            </a:r>
          </a:p>
        </p:txBody>
      </p:sp>
      <p:sp>
        <p:nvSpPr>
          <p:cNvPr id="88" name="AutoShape 107">
            <a:extLst>
              <a:ext uri="{FF2B5EF4-FFF2-40B4-BE49-F238E27FC236}">
                <a16:creationId xmlns:a16="http://schemas.microsoft.com/office/drawing/2014/main" id="{7A722B13-23F3-46E9-92B0-536CDF162DBA}"/>
              </a:ext>
            </a:extLst>
          </p:cNvPr>
          <p:cNvSpPr>
            <a:spLocks noChangeAspect="1" noChangeArrowheads="1" noTextEdit="1"/>
          </p:cNvSpPr>
          <p:nvPr/>
        </p:nvSpPr>
        <p:spPr bwMode="auto">
          <a:xfrm>
            <a:off x="4334441" y="2123557"/>
            <a:ext cx="675000" cy="67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de-DE" dirty="0"/>
          </a:p>
        </p:txBody>
      </p:sp>
      <p:sp>
        <p:nvSpPr>
          <p:cNvPr id="25" name="Rectangle 24">
            <a:extLst>
              <a:ext uri="{FF2B5EF4-FFF2-40B4-BE49-F238E27FC236}">
                <a16:creationId xmlns:a16="http://schemas.microsoft.com/office/drawing/2014/main" id="{15B3558B-B6C8-463D-93FB-672BF24AADB0}"/>
              </a:ext>
            </a:extLst>
          </p:cNvPr>
          <p:cNvSpPr/>
          <p:nvPr/>
        </p:nvSpPr>
        <p:spPr bwMode="auto">
          <a:xfrm>
            <a:off x="6516217" y="1091617"/>
            <a:ext cx="2155284" cy="396250"/>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r>
              <a:rPr lang="de-DE" sz="800" dirty="0">
                <a:solidFill>
                  <a:schemeClr val="bg1"/>
                </a:solidFill>
                <a:latin typeface="+mn-lt"/>
                <a:cs typeface="+mn-cs"/>
              </a:rPr>
              <a:t>Beispielprodukte aus der</a:t>
            </a:r>
            <a:br>
              <a:rPr lang="de-DE" sz="800" dirty="0">
                <a:solidFill>
                  <a:schemeClr val="bg1"/>
                </a:solidFill>
                <a:latin typeface="+mn-lt"/>
                <a:cs typeface="+mn-cs"/>
              </a:rPr>
            </a:br>
            <a:r>
              <a:rPr lang="de-DE" sz="800" dirty="0">
                <a:solidFill>
                  <a:schemeClr val="bg1"/>
                </a:solidFill>
                <a:latin typeface="+mn-lt"/>
                <a:cs typeface="+mn-cs"/>
              </a:rPr>
              <a:t>PCR-Pool-Testung in den bayerischen </a:t>
            </a:r>
            <a:br>
              <a:rPr lang="de-DE" sz="800" dirty="0">
                <a:solidFill>
                  <a:schemeClr val="bg1"/>
                </a:solidFill>
                <a:latin typeface="+mn-lt"/>
                <a:cs typeface="+mn-cs"/>
              </a:rPr>
            </a:br>
            <a:r>
              <a:rPr lang="de-DE" sz="800" dirty="0">
                <a:solidFill>
                  <a:schemeClr val="bg1"/>
                </a:solidFill>
                <a:latin typeface="+mn-lt"/>
                <a:cs typeface="+mn-cs"/>
              </a:rPr>
              <a:t>Grund- und Förderschulen</a:t>
            </a:r>
          </a:p>
        </p:txBody>
      </p:sp>
      <p:sp>
        <p:nvSpPr>
          <p:cNvPr id="90" name="Rectangle 89">
            <a:extLst>
              <a:ext uri="{FF2B5EF4-FFF2-40B4-BE49-F238E27FC236}">
                <a16:creationId xmlns:a16="http://schemas.microsoft.com/office/drawing/2014/main" id="{3ECED42D-9D0E-42C0-AC4A-2579D815A629}"/>
              </a:ext>
            </a:extLst>
          </p:cNvPr>
          <p:cNvSpPr/>
          <p:nvPr/>
        </p:nvSpPr>
        <p:spPr bwMode="auto">
          <a:xfrm>
            <a:off x="3322231" y="4236526"/>
            <a:ext cx="2463362" cy="119163"/>
          </a:xfrm>
          <a:prstGeom prst="rect">
            <a:avLst/>
          </a:prstGeom>
          <a:solidFill>
            <a:srgbClr val="FFFFFF"/>
          </a:solidFill>
          <a:ln w="9525" cap="flat" cmpd="sng" algn="ctr">
            <a:noFill/>
            <a:prstDash val="sysDash"/>
            <a:round/>
            <a:headEnd type="none" w="med" len="med"/>
            <a:tailEnd type="none" w="med" len="med"/>
          </a:ln>
          <a:effectLst/>
          <a:extLst>
            <a:ext uri="{91240B29-F687-4F45-9708-019B960494DF}">
              <a14:hiddenLine xmlns:a14="http://schemas.microsoft.com/office/drawing/2010/main" w="9525" cap="flat" cmpd="sng" algn="ctr">
                <a:solidFill>
                  <a:srgbClr val="4C7895"/>
                </a:solidFill>
                <a:prstDash val="sysDash"/>
                <a:round/>
                <a:headEnd type="none" w="med" len="med"/>
                <a:tailEnd type="none" w="med" len="med"/>
              </a14:hiddenLine>
            </a:ext>
          </a:extLst>
        </p:spPr>
        <p:txBody>
          <a:bodyPr vert="horz" wrap="square" lIns="0" tIns="0" rIns="0" bIns="0" numCol="1" rtlCol="0" anchor="ctr" anchorCtr="0" compatLnSpc="1">
            <a:prstTxWarp prst="textNoShape">
              <a:avLst/>
            </a:prstTxWarp>
            <a:noAutofit/>
          </a:bodyPr>
          <a:lstStyle/>
          <a:p>
            <a:pPr algn="ctr">
              <a:buFont typeface="Arial" panose="020B0604020202020204" pitchFamily="34" charset="0"/>
            </a:pPr>
            <a:r>
              <a:rPr lang="de-DE" sz="1000" dirty="0">
                <a:solidFill>
                  <a:srgbClr val="4C7895"/>
                </a:solidFill>
                <a:latin typeface="+mn-lt"/>
                <a:cs typeface="+mn-cs"/>
              </a:rPr>
              <a:t>In Kombination UN3373 / P650-konform</a:t>
            </a:r>
            <a:r>
              <a:rPr lang="de-DE" sz="1000" baseline="30000" dirty="0">
                <a:solidFill>
                  <a:srgbClr val="4C7895"/>
                </a:solidFill>
                <a:latin typeface="+mn-lt"/>
                <a:cs typeface="+mn-cs"/>
              </a:rPr>
              <a:t>1</a:t>
            </a:r>
            <a:r>
              <a:rPr lang="de-DE" sz="1000" dirty="0">
                <a:solidFill>
                  <a:srgbClr val="4C7895"/>
                </a:solidFill>
                <a:latin typeface="+mn-lt"/>
                <a:cs typeface="+mn-cs"/>
              </a:rPr>
              <a:t> </a:t>
            </a:r>
          </a:p>
        </p:txBody>
      </p:sp>
      <p:graphicFrame>
        <p:nvGraphicFramePr>
          <p:cNvPr id="39" name="Object 38" hidden="1">
            <a:extLst>
              <a:ext uri="{FF2B5EF4-FFF2-40B4-BE49-F238E27FC236}">
                <a16:creationId xmlns:a16="http://schemas.microsoft.com/office/drawing/2014/main" id="{06C9C6A9-B8E6-48FE-AADD-DDFF63200641}"/>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807" name="think-cell Slide" r:id="rId16" imgW="328" imgH="328" progId="TCLayout.ActiveDocument.1">
                  <p:embed/>
                </p:oleObj>
              </mc:Choice>
              <mc:Fallback>
                <p:oleObj name="think-cell Slide" r:id="rId16" imgW="328" imgH="328" progId="TCLayout.ActiveDocument.1">
                  <p:embed/>
                  <p:pic>
                    <p:nvPicPr>
                      <p:cNvPr id="3" name="Object 2" hidden="1">
                        <a:extLst>
                          <a:ext uri="{FF2B5EF4-FFF2-40B4-BE49-F238E27FC236}">
                            <a16:creationId xmlns:a16="http://schemas.microsoft.com/office/drawing/2014/main" id="{1F5A99CE-E505-441A-80B7-A5ABDAE6647B}"/>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0" name="ee4pFootnotes">
            <a:extLst>
              <a:ext uri="{FF2B5EF4-FFF2-40B4-BE49-F238E27FC236}">
                <a16:creationId xmlns:a16="http://schemas.microsoft.com/office/drawing/2014/main" id="{02801C28-BE46-4DA9-897D-9EF11BE61291}"/>
              </a:ext>
            </a:extLst>
          </p:cNvPr>
          <p:cNvSpPr>
            <a:spLocks noChangeArrowheads="1"/>
          </p:cNvSpPr>
          <p:nvPr/>
        </p:nvSpPr>
        <p:spPr bwMode="auto">
          <a:xfrm>
            <a:off x="472500" y="4646479"/>
            <a:ext cx="7555884" cy="1938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de-DE" sz="700" dirty="0">
                <a:solidFill>
                  <a:srgbClr val="898989"/>
                </a:solidFill>
                <a:latin typeface="+mn-lt"/>
                <a:cs typeface="+mn-cs"/>
                <a:sym typeface="Novel Sans Pro" panose="02000000000000000000" pitchFamily="50" charset="0"/>
              </a:rPr>
              <a:t>1. Transportvorschriften für biologische Stoffe der Kategorie B – UN3373, welche nach Verpackungsanweisung P650 zu verpacken sind. Spezielle UN3373-konforme Transport-Boxen machen den Einsatz von zusätzlichen Kreuzbodenbeuteln und Verschlussclips ggfs. überflüssig.</a:t>
            </a:r>
          </a:p>
        </p:txBody>
      </p:sp>
    </p:spTree>
    <p:extLst>
      <p:ext uri="{BB962C8B-B14F-4D97-AF65-F5344CB8AC3E}">
        <p14:creationId xmlns:p14="http://schemas.microsoft.com/office/powerpoint/2010/main" val="2408869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20C0288-8D66-44C7-9AC1-CE6781C2E833}"/>
              </a:ext>
            </a:extLst>
          </p:cNvPr>
          <p:cNvGraphicFramePr>
            <a:graphicFrameLocks noChangeAspect="1"/>
          </p:cNvGraphicFramePr>
          <p:nvPr>
            <p:custDataLst>
              <p:tags r:id="rId3"/>
            </p:custDataLst>
            <p:extLst>
              <p:ext uri="{D42A27DB-BD31-4B8C-83A1-F6EECF244321}">
                <p14:modId xmlns:p14="http://schemas.microsoft.com/office/powerpoint/2010/main" val="403525556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spid="_x0000_s75804" name="think-cell Slide" r:id="rId6" imgW="473" imgH="476" progId="TCLayout.ActiveDocument.1">
                  <p:embed/>
                </p:oleObj>
              </mc:Choice>
              <mc:Fallback>
                <p:oleObj name="think-cell Slide" r:id="rId6" imgW="473" imgH="476" progId="TCLayout.ActiveDocument.1">
                  <p:embed/>
                  <p:pic>
                    <p:nvPicPr>
                      <p:cNvPr id="5" name="Object 4" hidden="1">
                        <a:extLst>
                          <a:ext uri="{FF2B5EF4-FFF2-40B4-BE49-F238E27FC236}">
                            <a16:creationId xmlns:a16="http://schemas.microsoft.com/office/drawing/2014/main" id="{620C0288-8D66-44C7-9AC1-CE6781C2E833}"/>
                          </a:ext>
                        </a:extLst>
                      </p:cNvPr>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3" name="Title 2"/>
          <p:cNvSpPr>
            <a:spLocks noGrp="1"/>
          </p:cNvSpPr>
          <p:nvPr>
            <p:ph type="title"/>
          </p:nvPr>
        </p:nvSpPr>
        <p:spPr>
          <a:xfrm>
            <a:off x="472679" y="466725"/>
            <a:ext cx="8199834" cy="784830"/>
          </a:xfrm>
        </p:spPr>
        <p:txBody>
          <a:bodyPr vert="horz"/>
          <a:lstStyle/>
          <a:p>
            <a:r>
              <a:rPr lang="de-DE" dirty="0"/>
              <a:t>Materialvolumina sollten im täglichen Transport-</a:t>
            </a:r>
            <a:br>
              <a:rPr lang="de-DE" dirty="0"/>
            </a:br>
            <a:r>
              <a:rPr lang="de-DE" dirty="0" err="1"/>
              <a:t>prozess</a:t>
            </a:r>
            <a:r>
              <a:rPr lang="de-DE" dirty="0"/>
              <a:t> berücksichtigt werden</a:t>
            </a:r>
            <a:endParaRPr lang="en-US" dirty="0"/>
          </a:p>
        </p:txBody>
      </p:sp>
      <p:sp>
        <p:nvSpPr>
          <p:cNvPr id="102" name="ee4pFootnotes">
            <a:extLst>
              <a:ext uri="{FF2B5EF4-FFF2-40B4-BE49-F238E27FC236}">
                <a16:creationId xmlns:a16="http://schemas.microsoft.com/office/drawing/2014/main" id="{639CF32A-4702-4B54-800F-8004AEF8B7EA}"/>
              </a:ext>
            </a:extLst>
          </p:cNvPr>
          <p:cNvSpPr>
            <a:spLocks noChangeArrowheads="1"/>
          </p:cNvSpPr>
          <p:nvPr/>
        </p:nvSpPr>
        <p:spPr bwMode="auto">
          <a:xfrm>
            <a:off x="472500" y="4812273"/>
            <a:ext cx="7915924" cy="20774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de-DE" sz="750" dirty="0">
                <a:solidFill>
                  <a:schemeClr val="bg1">
                    <a:lumMod val="50000"/>
                  </a:schemeClr>
                </a:solidFill>
                <a:latin typeface="Arial" panose="020B0604020202020204" pitchFamily="34" charset="0"/>
                <a:sym typeface="Arial" panose="020B0604020202020204" pitchFamily="34" charset="0"/>
              </a:rPr>
              <a:t>1. Sammelfahrt mit 8 Einrichtungen mit jeweils 4 Pools à 20 Kinder inkl. Rückstellproben. 2. Koordination zwischen </a:t>
            </a:r>
            <a:r>
              <a:rPr lang="de-DE" sz="750" dirty="0" smtClean="0">
                <a:solidFill>
                  <a:schemeClr val="bg1">
                    <a:lumMod val="50000"/>
                  </a:schemeClr>
                </a:solidFill>
                <a:latin typeface="Arial" panose="020B0604020202020204" pitchFamily="34" charset="0"/>
                <a:sym typeface="Arial" panose="020B0604020202020204" pitchFamily="34" charset="0"/>
              </a:rPr>
              <a:t>Landkreisen, kreisfreien </a:t>
            </a:r>
            <a:r>
              <a:rPr lang="de-DE" sz="750" dirty="0">
                <a:solidFill>
                  <a:schemeClr val="bg1">
                    <a:lumMod val="50000"/>
                  </a:schemeClr>
                </a:solidFill>
                <a:latin typeface="Arial" panose="020B0604020202020204" pitchFamily="34" charset="0"/>
                <a:sym typeface="Arial" panose="020B0604020202020204" pitchFamily="34" charset="0"/>
              </a:rPr>
              <a:t>Städten </a:t>
            </a:r>
            <a:r>
              <a:rPr lang="de-DE" sz="750" dirty="0">
                <a:solidFill>
                  <a:schemeClr val="bg1">
                    <a:lumMod val="50000"/>
                  </a:schemeClr>
                </a:solidFill>
                <a:latin typeface="Arial" panose="020B0604020202020204" pitchFamily="34" charset="0"/>
                <a:sym typeface="Arial" panose="020B0604020202020204" pitchFamily="34" charset="0"/>
              </a:rPr>
              <a:t>und kreisangehörigen Gemeinden </a:t>
            </a:r>
            <a:r>
              <a:rPr lang="de-DE" sz="750" dirty="0" smtClean="0">
                <a:solidFill>
                  <a:schemeClr val="bg1">
                    <a:lumMod val="50000"/>
                  </a:schemeClr>
                </a:solidFill>
                <a:latin typeface="Arial" panose="020B0604020202020204" pitchFamily="34" charset="0"/>
                <a:sym typeface="Arial" panose="020B0604020202020204" pitchFamily="34" charset="0"/>
              </a:rPr>
              <a:t>denkbar</a:t>
            </a:r>
            <a:r>
              <a:rPr lang="de-DE" sz="750" dirty="0">
                <a:solidFill>
                  <a:schemeClr val="bg1">
                    <a:lumMod val="50000"/>
                  </a:schemeClr>
                </a:solidFill>
                <a:latin typeface="Arial" panose="020B0604020202020204" pitchFamily="34" charset="0"/>
                <a:sym typeface="Arial" panose="020B0604020202020204" pitchFamily="34" charset="0"/>
              </a:rPr>
              <a:t>.</a:t>
            </a:r>
          </a:p>
        </p:txBody>
      </p:sp>
      <p:grpSp>
        <p:nvGrpSpPr>
          <p:cNvPr id="12" name="PFSticker" hidden="1">
            <a:extLst>
              <a:ext uri="{FF2B5EF4-FFF2-40B4-BE49-F238E27FC236}">
                <a16:creationId xmlns:a16="http://schemas.microsoft.com/office/drawing/2014/main" id="{E7F6D36A-315A-417D-B6E3-930C1BE21464}"/>
              </a:ext>
            </a:extLst>
          </p:cNvPr>
          <p:cNvGrpSpPr/>
          <p:nvPr/>
        </p:nvGrpSpPr>
        <p:grpSpPr>
          <a:xfrm>
            <a:off x="3362325" y="-142875"/>
            <a:ext cx="2428875" cy="285750"/>
            <a:chOff x="4483100" y="-190500"/>
            <a:chExt cx="3238500" cy="381000"/>
          </a:xfrm>
        </p:grpSpPr>
        <p:sp>
          <p:nvSpPr>
            <p:cNvPr id="9" name="PFlayoutSticker" hidden="1">
              <a:extLst>
                <a:ext uri="{FF2B5EF4-FFF2-40B4-BE49-F238E27FC236}">
                  <a16:creationId xmlns:a16="http://schemas.microsoft.com/office/drawing/2014/main" id="{27A51CC8-14F3-42E7-8E7E-214B9696F993}"/>
                </a:ext>
              </a:extLst>
            </p:cNvPr>
            <p:cNvSpPr>
              <a:spLocks noChangeAspect="1"/>
            </p:cNvSpPr>
            <p:nvPr/>
          </p:nvSpPr>
          <p:spPr>
            <a:xfrm>
              <a:off x="4483100" y="-190500"/>
              <a:ext cx="1079500" cy="381000"/>
            </a:xfrm>
            <a:prstGeom prst="hexagon">
              <a:avLst/>
            </a:prstGeom>
            <a:solidFill>
              <a:srgbClr val="008000"/>
            </a:solidFill>
            <a:ln w="9525" cap="rnd" cmpd="sng" algn="ctr">
              <a:solidFill>
                <a:prstClr val="black"/>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de-DE">
                  <a:solidFill>
                    <a:srgbClr val="FFFFFF"/>
                  </a:solidFill>
                  <a:latin typeface="Calibri" panose="020F0502020204030204" pitchFamily="34" charset="0"/>
                </a:rPr>
                <a:t>JSS</a:t>
              </a:r>
              <a:endParaRPr lang="de-DE" dirty="0" err="1">
                <a:solidFill>
                  <a:srgbClr val="FFFFFF"/>
                </a:solidFill>
                <a:latin typeface="Calibri" panose="020F0502020204030204" pitchFamily="34" charset="0"/>
              </a:endParaRPr>
            </a:p>
          </p:txBody>
        </p:sp>
        <p:sp>
          <p:nvSpPr>
            <p:cNvPr id="10" name="PFtextSticker" hidden="1">
              <a:extLst>
                <a:ext uri="{FF2B5EF4-FFF2-40B4-BE49-F238E27FC236}">
                  <a16:creationId xmlns:a16="http://schemas.microsoft.com/office/drawing/2014/main" id="{BDC5A627-AB54-46F3-A5C4-2D948BC2BBB4}"/>
                </a:ext>
              </a:extLst>
            </p:cNvPr>
            <p:cNvSpPr>
              <a:spLocks noChangeAspect="1"/>
            </p:cNvSpPr>
            <p:nvPr/>
          </p:nvSpPr>
          <p:spPr>
            <a:xfrm>
              <a:off x="5562600" y="-190500"/>
              <a:ext cx="1079500" cy="381000"/>
            </a:xfrm>
            <a:prstGeom prst="hexagon">
              <a:avLst/>
            </a:prstGeom>
            <a:solidFill>
              <a:srgbClr val="008000"/>
            </a:solidFill>
            <a:ln w="9525" cap="rnd" cmpd="sng" algn="ctr">
              <a:solidFill>
                <a:prstClr val="black"/>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de-DE">
                  <a:solidFill>
                    <a:srgbClr val="FFFFFF"/>
                  </a:solidFill>
                  <a:latin typeface="Calibri" panose="020F0502020204030204" pitchFamily="34" charset="0"/>
                </a:rPr>
                <a:t> </a:t>
              </a:r>
              <a:endParaRPr lang="de-DE" dirty="0" err="1">
                <a:solidFill>
                  <a:srgbClr val="FFFFFF"/>
                </a:solidFill>
                <a:latin typeface="Calibri" panose="020F0502020204030204" pitchFamily="34" charset="0"/>
              </a:endParaRPr>
            </a:p>
          </p:txBody>
        </p:sp>
        <p:sp>
          <p:nvSpPr>
            <p:cNvPr id="11" name="PFqaSticker" hidden="1">
              <a:extLst>
                <a:ext uri="{FF2B5EF4-FFF2-40B4-BE49-F238E27FC236}">
                  <a16:creationId xmlns:a16="http://schemas.microsoft.com/office/drawing/2014/main" id="{9CDAAD2D-5DF9-4254-B5F6-0413896C4B69}"/>
                </a:ext>
              </a:extLst>
            </p:cNvPr>
            <p:cNvSpPr>
              <a:spLocks noChangeAspect="1"/>
            </p:cNvSpPr>
            <p:nvPr/>
          </p:nvSpPr>
          <p:spPr>
            <a:xfrm>
              <a:off x="6642100" y="-190500"/>
              <a:ext cx="1079500" cy="381000"/>
            </a:xfrm>
            <a:prstGeom prst="hexagon">
              <a:avLst/>
            </a:prstGeom>
            <a:solidFill>
              <a:srgbClr val="008000"/>
            </a:solidFill>
            <a:ln w="9525" cap="rnd" cmpd="sng" algn="ctr">
              <a:solidFill>
                <a:prstClr val="black"/>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68580" tIns="34290" rIns="68580" bIns="34290" numCol="1" spcCol="0" rtlCol="0" fromWordArt="0" anchor="ctr" anchorCtr="0" forceAA="0" compatLnSpc="1">
              <a:prstTxWarp prst="textNoShape">
                <a:avLst/>
              </a:prstTxWarp>
              <a:noAutofit/>
            </a:bodyPr>
            <a:lstStyle/>
            <a:p>
              <a:pPr algn="ctr"/>
              <a:r>
                <a:rPr lang="de-DE">
                  <a:solidFill>
                    <a:srgbClr val="FFFFFF"/>
                  </a:solidFill>
                  <a:latin typeface="Calibri" panose="020F0502020204030204" pitchFamily="34" charset="0"/>
                </a:rPr>
                <a:t>KKT</a:t>
              </a:r>
              <a:endParaRPr lang="de-DE" dirty="0" err="1">
                <a:solidFill>
                  <a:srgbClr val="FFFFFF"/>
                </a:solidFill>
                <a:latin typeface="Calibri" panose="020F0502020204030204" pitchFamily="34" charset="0"/>
              </a:endParaRPr>
            </a:p>
          </p:txBody>
        </p:sp>
      </p:grpSp>
      <p:sp>
        <p:nvSpPr>
          <p:cNvPr id="2" name="TextBox 1">
            <a:extLst>
              <a:ext uri="{FF2B5EF4-FFF2-40B4-BE49-F238E27FC236}">
                <a16:creationId xmlns:a16="http://schemas.microsoft.com/office/drawing/2014/main" id="{31FDD25B-5177-44FE-A808-5391B29ECDA4}"/>
              </a:ext>
            </a:extLst>
          </p:cNvPr>
          <p:cNvSpPr txBox="1"/>
          <p:nvPr/>
        </p:nvSpPr>
        <p:spPr>
          <a:xfrm>
            <a:off x="5508104" y="1423155"/>
            <a:ext cx="2936957" cy="3253619"/>
          </a:xfrm>
          <a:prstGeom prst="rect">
            <a:avLst/>
          </a:prstGeom>
          <a:noFill/>
          <a:ln w="9525" cap="rnd" cmpd="sng" algn="ctr">
            <a:solidFill>
              <a:srgbClr val="0A4E78"/>
            </a:solidFill>
            <a:prstDash val="solid"/>
            <a:round/>
            <a:headEnd type="none" w="med" len="med"/>
            <a:tailEnd type="none" w="med" len="med"/>
          </a:ln>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198000" lvl="1" indent="-123750">
              <a:buClr>
                <a:srgbClr val="0A4E78"/>
              </a:buClr>
              <a:buFont typeface="Trebuchet MS" panose="020B0603020202020204" pitchFamily="34" charset="0"/>
              <a:buChar char="•"/>
            </a:pPr>
            <a:endParaRPr lang="de-DE" sz="1200" dirty="0">
              <a:solidFill>
                <a:srgbClr val="0A4E78"/>
              </a:solidFill>
            </a:endParaRPr>
          </a:p>
          <a:p>
            <a:pPr marL="198000" lvl="1" indent="-123750">
              <a:buClr>
                <a:srgbClr val="0A4E78"/>
              </a:buClr>
              <a:buFont typeface="Trebuchet MS" panose="020B0603020202020204" pitchFamily="34" charset="0"/>
              <a:buChar char="•"/>
            </a:pPr>
            <a:endParaRPr lang="de-DE" sz="1200" dirty="0">
              <a:solidFill>
                <a:srgbClr val="0A4E78"/>
              </a:solidFill>
            </a:endParaRPr>
          </a:p>
          <a:p>
            <a:pPr marL="198000" lvl="1" indent="-123750">
              <a:buClr>
                <a:srgbClr val="0A4E78"/>
              </a:buClr>
              <a:buFont typeface="Trebuchet MS" panose="020B0603020202020204" pitchFamily="34" charset="0"/>
              <a:buChar char="•"/>
            </a:pPr>
            <a:r>
              <a:rPr lang="de-DE" sz="1200" dirty="0">
                <a:solidFill>
                  <a:srgbClr val="0A4E78"/>
                </a:solidFill>
              </a:rPr>
              <a:t>Einzelne Sammelfahrten können i. d. R. mit normalen PKWs durchgeführt werden</a:t>
            </a:r>
          </a:p>
          <a:p>
            <a:pPr marL="198000" lvl="1" indent="-123750">
              <a:buClr>
                <a:srgbClr val="0A4E78"/>
              </a:buClr>
              <a:buFont typeface="Trebuchet MS" panose="020B0603020202020204" pitchFamily="34" charset="0"/>
              <a:buChar char="•"/>
            </a:pPr>
            <a:endParaRPr lang="de-DE" sz="1200" dirty="0">
              <a:solidFill>
                <a:srgbClr val="0A4E78"/>
              </a:solidFill>
            </a:endParaRPr>
          </a:p>
          <a:p>
            <a:pPr marL="198000" lvl="1" indent="-123750">
              <a:buClr>
                <a:srgbClr val="0A4E78"/>
              </a:buClr>
              <a:buFont typeface="Trebuchet MS" panose="020B0603020202020204" pitchFamily="34" charset="0"/>
              <a:buChar char="•"/>
            </a:pPr>
            <a:r>
              <a:rPr lang="de-DE" sz="1200" dirty="0">
                <a:solidFill>
                  <a:srgbClr val="0A4E78"/>
                </a:solidFill>
              </a:rPr>
              <a:t>An einem Knotenpunkt treffen sich ca. 20 Sammelfahrten</a:t>
            </a:r>
            <a:r>
              <a:rPr lang="de-DE" sz="1200" baseline="30000" dirty="0">
                <a:solidFill>
                  <a:srgbClr val="0A4E78"/>
                </a:solidFill>
              </a:rPr>
              <a:t>2</a:t>
            </a:r>
            <a:r>
              <a:rPr lang="de-DE" sz="1200" dirty="0">
                <a:solidFill>
                  <a:srgbClr val="0A4E78"/>
                </a:solidFill>
              </a:rPr>
              <a:t> </a:t>
            </a:r>
          </a:p>
          <a:p>
            <a:pPr marL="198000" lvl="1" indent="-123750">
              <a:buClr>
                <a:srgbClr val="0A4E78"/>
              </a:buClr>
              <a:buFont typeface="Trebuchet MS" panose="020B0603020202020204" pitchFamily="34" charset="0"/>
              <a:buChar char="•"/>
            </a:pPr>
            <a:endParaRPr lang="de-DE" sz="1200" dirty="0">
              <a:solidFill>
                <a:srgbClr val="0A4E78"/>
              </a:solidFill>
            </a:endParaRPr>
          </a:p>
          <a:p>
            <a:pPr marL="198000" lvl="1" indent="-123750">
              <a:buClr>
                <a:srgbClr val="0A4E78"/>
              </a:buClr>
              <a:buFont typeface="Trebuchet MS" panose="020B0603020202020204" pitchFamily="34" charset="0"/>
              <a:buChar char="•"/>
            </a:pPr>
            <a:r>
              <a:rPr lang="de-DE" sz="1200" dirty="0">
                <a:solidFill>
                  <a:srgbClr val="0A4E78"/>
                </a:solidFill>
              </a:rPr>
              <a:t>Dadurch fallen insgesamt also ca. 20 - 40 Transportkisten an einem Knotenpunkt an</a:t>
            </a:r>
          </a:p>
          <a:p>
            <a:pPr marL="198000" lvl="1" indent="-123750">
              <a:buClr>
                <a:srgbClr val="0A4E78"/>
              </a:buClr>
              <a:buFont typeface="Trebuchet MS" panose="020B0603020202020204" pitchFamily="34" charset="0"/>
              <a:buChar char="•"/>
            </a:pPr>
            <a:endParaRPr lang="de-DE" sz="1200" dirty="0">
              <a:solidFill>
                <a:srgbClr val="0A4E78"/>
              </a:solidFill>
            </a:endParaRPr>
          </a:p>
          <a:p>
            <a:pPr marL="198000" lvl="1" indent="-123750">
              <a:buClr>
                <a:srgbClr val="0A4E78"/>
              </a:buClr>
              <a:buFont typeface="Trebuchet MS" panose="020B0603020202020204" pitchFamily="34" charset="0"/>
              <a:buChar char="•"/>
            </a:pPr>
            <a:r>
              <a:rPr lang="de-DE" sz="1200" dirty="0">
                <a:solidFill>
                  <a:srgbClr val="0A4E78"/>
                </a:solidFill>
              </a:rPr>
              <a:t>Für die Knotenpunkte sind entsprechende Fahrzeuge vorzuhalten  </a:t>
            </a:r>
          </a:p>
        </p:txBody>
      </p:sp>
      <p:grpSp>
        <p:nvGrpSpPr>
          <p:cNvPr id="16" name="Group 15">
            <a:extLst>
              <a:ext uri="{FF2B5EF4-FFF2-40B4-BE49-F238E27FC236}">
                <a16:creationId xmlns:a16="http://schemas.microsoft.com/office/drawing/2014/main" id="{8A31936A-4FB3-427F-9382-3A387ADC49D6}"/>
              </a:ext>
            </a:extLst>
          </p:cNvPr>
          <p:cNvGrpSpPr/>
          <p:nvPr/>
        </p:nvGrpSpPr>
        <p:grpSpPr>
          <a:xfrm>
            <a:off x="3047446" y="3217516"/>
            <a:ext cx="2285315" cy="369694"/>
            <a:chOff x="3047445" y="3235158"/>
            <a:chExt cx="2285315" cy="512515"/>
          </a:xfrm>
        </p:grpSpPr>
        <p:cxnSp>
          <p:nvCxnSpPr>
            <p:cNvPr id="127" name="Straight Connector 126">
              <a:extLst>
                <a:ext uri="{FF2B5EF4-FFF2-40B4-BE49-F238E27FC236}">
                  <a16:creationId xmlns:a16="http://schemas.microsoft.com/office/drawing/2014/main" id="{907EEAB5-0594-444A-A921-6B105831C854}"/>
                </a:ext>
              </a:extLst>
            </p:cNvPr>
            <p:cNvCxnSpPr>
              <a:cxnSpLocks/>
            </p:cNvCxnSpPr>
            <p:nvPr/>
          </p:nvCxnSpPr>
          <p:spPr>
            <a:xfrm>
              <a:off x="3437195" y="3235158"/>
              <a:ext cx="0" cy="126642"/>
            </a:xfrm>
            <a:prstGeom prst="line">
              <a:avLst/>
            </a:prstGeom>
            <a:noFill/>
            <a:ln w="19050" cap="rnd" cmpd="sng" algn="ctr">
              <a:solidFill>
                <a:srgbClr val="4C7895"/>
              </a:solidFill>
              <a:prstDash val="solid"/>
              <a:round/>
              <a:headEnd type="oval" w="med" len="med"/>
              <a:tailEnd type="none" w="sm" len="sm"/>
            </a:ln>
            <a:effectLst/>
          </p:spPr>
        </p:cxnSp>
        <p:sp>
          <p:nvSpPr>
            <p:cNvPr id="128" name="Rectangle 127">
              <a:extLst>
                <a:ext uri="{FF2B5EF4-FFF2-40B4-BE49-F238E27FC236}">
                  <a16:creationId xmlns:a16="http://schemas.microsoft.com/office/drawing/2014/main" id="{B5ED1A8E-115E-49BB-BEFE-565E4935C42B}"/>
                </a:ext>
              </a:extLst>
            </p:cNvPr>
            <p:cNvSpPr/>
            <p:nvPr/>
          </p:nvSpPr>
          <p:spPr>
            <a:xfrm flipH="1">
              <a:off x="3047445" y="3343706"/>
              <a:ext cx="2285315" cy="403967"/>
            </a:xfrm>
            <a:prstGeom prst="rect">
              <a:avLst/>
            </a:prstGeom>
            <a:solidFill>
              <a:srgbClr val="FFFFFF"/>
            </a:solidFill>
            <a:ln w="19050" cap="rnd" cmpd="sng" algn="ctr">
              <a:solidFill>
                <a:srgbClr val="6C8CA6"/>
              </a:solidFill>
              <a:prstDash val="solid"/>
              <a:round/>
              <a:headEnd type="none" w="med" len="med"/>
              <a:tailEnd type="none" w="med" len="med"/>
            </a:ln>
            <a:effectLst/>
          </p:spPr>
          <p:txBody>
            <a:bodyPr lIns="34290" tIns="34290" rIns="34290" bIns="34290" rtlCol="0" anchor="ctr" anchorCtr="0"/>
            <a:lstStyle/>
            <a:p>
              <a:pPr algn="ctr">
                <a:buSzPct val="100000"/>
                <a:buFont typeface="Trebuchet MS" panose="020B0603020202020204" pitchFamily="34" charset="0"/>
                <a:buChar char="​"/>
                <a:defRPr/>
              </a:pPr>
              <a:r>
                <a:rPr lang="de-DE" sz="750" b="1" dirty="0">
                  <a:solidFill>
                    <a:srgbClr val="4C7895"/>
                  </a:solidFill>
                  <a:latin typeface="Arial" panose="020B0604020202020204" pitchFamily="34" charset="0"/>
                </a:rPr>
                <a:t>Handelsüblicher PKW ausreichend </a:t>
              </a:r>
              <a:br>
                <a:rPr lang="de-DE" sz="750" b="1" dirty="0">
                  <a:solidFill>
                    <a:srgbClr val="4C7895"/>
                  </a:solidFill>
                  <a:latin typeface="Arial" panose="020B0604020202020204" pitchFamily="34" charset="0"/>
                </a:rPr>
              </a:br>
              <a:r>
                <a:rPr lang="de-DE" sz="750" b="1" dirty="0">
                  <a:solidFill>
                    <a:srgbClr val="4C7895"/>
                  </a:solidFill>
                  <a:latin typeface="Arial" panose="020B0604020202020204" pitchFamily="34" charset="0"/>
                </a:rPr>
                <a:t>(ca. 650 l Kofferraumvolumen)</a:t>
              </a:r>
            </a:p>
          </p:txBody>
        </p:sp>
      </p:grpSp>
      <p:sp>
        <p:nvSpPr>
          <p:cNvPr id="94" name="Rectangle 93">
            <a:extLst>
              <a:ext uri="{FF2B5EF4-FFF2-40B4-BE49-F238E27FC236}">
                <a16:creationId xmlns:a16="http://schemas.microsoft.com/office/drawing/2014/main" id="{AEA9F4ED-E1DC-477F-A2D4-5FF8A06CB3D3}"/>
              </a:ext>
            </a:extLst>
          </p:cNvPr>
          <p:cNvSpPr/>
          <p:nvPr/>
        </p:nvSpPr>
        <p:spPr bwMode="auto">
          <a:xfrm>
            <a:off x="5508104" y="1430641"/>
            <a:ext cx="2936957" cy="605581"/>
          </a:xfrm>
          <a:prstGeom prst="rect">
            <a:avLst/>
          </a:prstGeom>
          <a:solidFill>
            <a:srgbClr val="0A4E78"/>
          </a:solidFill>
          <a:ln>
            <a:noFill/>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r>
              <a:rPr lang="de-DE" sz="1050" dirty="0">
                <a:solidFill>
                  <a:schemeClr val="bg1"/>
                </a:solidFill>
                <a:latin typeface="+mn-lt"/>
                <a:cs typeface="+mn-cs"/>
              </a:rPr>
              <a:t>Erfahrungswerte aus den</a:t>
            </a:r>
            <a:br>
              <a:rPr lang="de-DE" sz="1050" dirty="0">
                <a:solidFill>
                  <a:schemeClr val="bg1"/>
                </a:solidFill>
                <a:latin typeface="+mn-lt"/>
                <a:cs typeface="+mn-cs"/>
              </a:rPr>
            </a:br>
            <a:r>
              <a:rPr lang="de-DE" sz="1050" dirty="0">
                <a:solidFill>
                  <a:schemeClr val="bg1"/>
                </a:solidFill>
                <a:latin typeface="+mn-lt"/>
                <a:cs typeface="+mn-cs"/>
              </a:rPr>
              <a:t>PCR-Pool-Tests in den bayerischen </a:t>
            </a:r>
            <a:br>
              <a:rPr lang="de-DE" sz="1050" dirty="0">
                <a:solidFill>
                  <a:schemeClr val="bg1"/>
                </a:solidFill>
                <a:latin typeface="+mn-lt"/>
                <a:cs typeface="+mn-cs"/>
              </a:rPr>
            </a:br>
            <a:r>
              <a:rPr lang="de-DE" sz="1050" dirty="0">
                <a:solidFill>
                  <a:schemeClr val="bg1"/>
                </a:solidFill>
                <a:latin typeface="+mn-lt"/>
                <a:cs typeface="+mn-cs"/>
              </a:rPr>
              <a:t>Grund- und Förderschulen</a:t>
            </a:r>
          </a:p>
        </p:txBody>
      </p:sp>
      <p:grpSp>
        <p:nvGrpSpPr>
          <p:cNvPr id="14" name="Group 13">
            <a:extLst>
              <a:ext uri="{FF2B5EF4-FFF2-40B4-BE49-F238E27FC236}">
                <a16:creationId xmlns:a16="http://schemas.microsoft.com/office/drawing/2014/main" id="{BDF8C701-F834-4B95-AFCA-A19654401827}"/>
              </a:ext>
            </a:extLst>
          </p:cNvPr>
          <p:cNvGrpSpPr/>
          <p:nvPr/>
        </p:nvGrpSpPr>
        <p:grpSpPr>
          <a:xfrm>
            <a:off x="1534202" y="2579175"/>
            <a:ext cx="839040" cy="739199"/>
            <a:chOff x="533288" y="1586543"/>
            <a:chExt cx="1120518" cy="987182"/>
          </a:xfrm>
        </p:grpSpPr>
        <p:grpSp>
          <p:nvGrpSpPr>
            <p:cNvPr id="108" name="Group 107">
              <a:extLst>
                <a:ext uri="{FF2B5EF4-FFF2-40B4-BE49-F238E27FC236}">
                  <a16:creationId xmlns:a16="http://schemas.microsoft.com/office/drawing/2014/main" id="{D3D5E0A1-2B0C-491E-A519-A0029830D3F7}"/>
                </a:ext>
              </a:extLst>
            </p:cNvPr>
            <p:cNvGrpSpPr/>
            <p:nvPr/>
          </p:nvGrpSpPr>
          <p:grpSpPr>
            <a:xfrm>
              <a:off x="533288" y="2025085"/>
              <a:ext cx="548640" cy="548640"/>
              <a:chOff x="827584" y="2239982"/>
              <a:chExt cx="548640" cy="548640"/>
            </a:xfrm>
          </p:grpSpPr>
          <p:sp>
            <p:nvSpPr>
              <p:cNvPr id="109" name="AutoShape 23">
                <a:extLst>
                  <a:ext uri="{FF2B5EF4-FFF2-40B4-BE49-F238E27FC236}">
                    <a16:creationId xmlns:a16="http://schemas.microsoft.com/office/drawing/2014/main" id="{3A359395-028A-4ADF-AA29-517868DFBF17}"/>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10" name="Freeform 11">
                <a:extLst>
                  <a:ext uri="{FF2B5EF4-FFF2-40B4-BE49-F238E27FC236}">
                    <a16:creationId xmlns:a16="http://schemas.microsoft.com/office/drawing/2014/main" id="{32E7F63B-98B3-4F6F-8B0D-2DCCD04FBEA7}"/>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111" name="Rectangle 110">
                <a:extLst>
                  <a:ext uri="{FF2B5EF4-FFF2-40B4-BE49-F238E27FC236}">
                    <a16:creationId xmlns:a16="http://schemas.microsoft.com/office/drawing/2014/main" id="{580B5FEB-EE4F-4463-B2B8-F3046508DA19}"/>
                  </a:ext>
                </a:extLst>
              </p:cNvPr>
              <p:cNvSpPr/>
              <p:nvPr/>
            </p:nvSpPr>
            <p:spPr bwMode="auto">
              <a:xfrm>
                <a:off x="892605" y="2305945"/>
                <a:ext cx="421598" cy="107112"/>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04" name="Group 103">
              <a:extLst>
                <a:ext uri="{FF2B5EF4-FFF2-40B4-BE49-F238E27FC236}">
                  <a16:creationId xmlns:a16="http://schemas.microsoft.com/office/drawing/2014/main" id="{E2894CB7-4EAC-44E5-BCF5-E22187698E2C}"/>
                </a:ext>
              </a:extLst>
            </p:cNvPr>
            <p:cNvGrpSpPr/>
            <p:nvPr/>
          </p:nvGrpSpPr>
          <p:grpSpPr>
            <a:xfrm>
              <a:off x="1105166" y="1926156"/>
              <a:ext cx="548640" cy="548640"/>
              <a:chOff x="827584" y="2239982"/>
              <a:chExt cx="548640" cy="548640"/>
            </a:xfrm>
          </p:grpSpPr>
          <p:sp>
            <p:nvSpPr>
              <p:cNvPr id="105" name="AutoShape 23">
                <a:extLst>
                  <a:ext uri="{FF2B5EF4-FFF2-40B4-BE49-F238E27FC236}">
                    <a16:creationId xmlns:a16="http://schemas.microsoft.com/office/drawing/2014/main" id="{543247FF-FECA-443E-99FC-597EC7CAEBC4}"/>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7" name="Rectangle 106">
                <a:extLst>
                  <a:ext uri="{FF2B5EF4-FFF2-40B4-BE49-F238E27FC236}">
                    <a16:creationId xmlns:a16="http://schemas.microsoft.com/office/drawing/2014/main" id="{286ECCCE-94B5-426B-9651-446CE7D3245F}"/>
                  </a:ext>
                </a:extLst>
              </p:cNvPr>
              <p:cNvSpPr/>
              <p:nvPr/>
            </p:nvSpPr>
            <p:spPr bwMode="auto">
              <a:xfrm>
                <a:off x="892605" y="2305945"/>
                <a:ext cx="421598" cy="107112"/>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8" name="Group 7">
              <a:extLst>
                <a:ext uri="{FF2B5EF4-FFF2-40B4-BE49-F238E27FC236}">
                  <a16:creationId xmlns:a16="http://schemas.microsoft.com/office/drawing/2014/main" id="{EF4D419C-7491-4FAB-B3BD-E5D4214B1657}"/>
                </a:ext>
              </a:extLst>
            </p:cNvPr>
            <p:cNvGrpSpPr/>
            <p:nvPr/>
          </p:nvGrpSpPr>
          <p:grpSpPr>
            <a:xfrm>
              <a:off x="683568" y="1586543"/>
              <a:ext cx="548640" cy="548640"/>
              <a:chOff x="827584" y="2239982"/>
              <a:chExt cx="548640" cy="548640"/>
            </a:xfrm>
          </p:grpSpPr>
          <p:sp>
            <p:nvSpPr>
              <p:cNvPr id="101" name="AutoShape 23">
                <a:extLst>
                  <a:ext uri="{FF2B5EF4-FFF2-40B4-BE49-F238E27FC236}">
                    <a16:creationId xmlns:a16="http://schemas.microsoft.com/office/drawing/2014/main" id="{A4B5C6C1-9C4F-490B-BB8D-086C160934C4}"/>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03" name="Freeform 11">
                <a:extLst>
                  <a:ext uri="{FF2B5EF4-FFF2-40B4-BE49-F238E27FC236}">
                    <a16:creationId xmlns:a16="http://schemas.microsoft.com/office/drawing/2014/main" id="{083F3633-10F0-47C4-BBBA-6DFA6791C4AE}"/>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7" name="Rectangle 6">
                <a:extLst>
                  <a:ext uri="{FF2B5EF4-FFF2-40B4-BE49-F238E27FC236}">
                    <a16:creationId xmlns:a16="http://schemas.microsoft.com/office/drawing/2014/main" id="{53124F24-ACD9-4EEF-B6CF-2CE7CF7D0D3A}"/>
                  </a:ext>
                </a:extLst>
              </p:cNvPr>
              <p:cNvSpPr/>
              <p:nvPr/>
            </p:nvSpPr>
            <p:spPr bwMode="auto">
              <a:xfrm>
                <a:off x="892605" y="2305945"/>
                <a:ext cx="421598" cy="107112"/>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sp>
        <p:nvSpPr>
          <p:cNvPr id="113" name="ee4pContent2">
            <a:extLst>
              <a:ext uri="{FF2B5EF4-FFF2-40B4-BE49-F238E27FC236}">
                <a16:creationId xmlns:a16="http://schemas.microsoft.com/office/drawing/2014/main" id="{0028BCD5-36B5-4C67-B090-147B7BA159C3}"/>
              </a:ext>
            </a:extLst>
          </p:cNvPr>
          <p:cNvSpPr txBox="1"/>
          <p:nvPr/>
        </p:nvSpPr>
        <p:spPr>
          <a:xfrm>
            <a:off x="2892769" y="2758940"/>
            <a:ext cx="2073321" cy="47621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1200">
                <a:solidFill>
                  <a:srgbClr val="008DC9"/>
                </a:solidFill>
              </a:defRPr>
            </a:lvl1pPr>
            <a:lvl2pPr marL="288000" lvl="1" indent="-180000">
              <a:buClr>
                <a:srgbClr val="008DC9"/>
              </a:buClr>
              <a:buSzPct val="100000"/>
              <a:buFont typeface="Trebuchet MS" panose="020B0603020202020204" pitchFamily="34" charset="0"/>
              <a:buChar char="•"/>
              <a:defRPr sz="1200">
                <a:solidFill>
                  <a:srgbClr val="008DC9"/>
                </a:solidFill>
              </a:defRPr>
            </a:lvl2pPr>
            <a:lvl3pPr marL="576000" lvl="2" indent="-180000">
              <a:buClr>
                <a:srgbClr val="008DC9"/>
              </a:buClr>
              <a:buSzPct val="100000"/>
              <a:buFont typeface="Arial" panose="020B0604020202020204" pitchFamily="34" charset="0"/>
              <a:buChar char="–"/>
              <a:defRPr sz="1200">
                <a:solidFill>
                  <a:srgbClr val="008DC9"/>
                </a:solidFill>
              </a:defRPr>
            </a:lvl3pPr>
            <a:lvl4pPr marL="0" lvl="3">
              <a:buSzPct val="100000"/>
              <a:buFont typeface="Trebuchet MS" panose="020B0603020202020204" pitchFamily="34" charset="0"/>
              <a:buChar char="​"/>
              <a:defRPr sz="1600">
                <a:solidFill>
                  <a:srgbClr val="006A97"/>
                </a:solidFill>
              </a:defRPr>
            </a:lvl4pPr>
            <a:lvl5pPr marL="0" lvl="4">
              <a:buSzPct val="100000"/>
              <a:buFont typeface="Trebuchet MS" panose="020B0603020202020204" pitchFamily="34" charset="0"/>
              <a:buChar char="​"/>
              <a:defRPr sz="1600" b="1">
                <a:solidFill>
                  <a:srgbClr val="008DC9"/>
                </a:solidFill>
              </a:defRPr>
            </a:lvl5pPr>
            <a:lvl6pPr marL="288000" lvl="5" indent="-180000">
              <a:buClr>
                <a:srgbClr val="008DC9"/>
              </a:buClr>
              <a:buSzPct val="100000"/>
              <a:buFont typeface="Trebuchet MS" panose="020B0603020202020204" pitchFamily="34" charset="0"/>
              <a:buChar char="•"/>
              <a:defRPr sz="1600">
                <a:solidFill>
                  <a:srgbClr val="008DC9"/>
                </a:solidFill>
              </a:defRPr>
            </a:lvl6pPr>
            <a:lvl7pPr marL="0" lvl="6">
              <a:buSzPct val="100000"/>
              <a:buFont typeface="Trebuchet MS" panose="020B0603020202020204" pitchFamily="34" charset="0"/>
              <a:buChar char="​"/>
              <a:defRPr sz="4400">
                <a:solidFill>
                  <a:srgbClr val="008DC9"/>
                </a:solidFill>
              </a:defRPr>
            </a:lvl7pPr>
            <a:lvl8pPr marL="0" lvl="7">
              <a:buSzPct val="100000"/>
              <a:buFont typeface="Trebuchet MS" panose="020B0603020202020204" pitchFamily="34" charset="0"/>
              <a:buChar char="​"/>
              <a:defRPr sz="4000">
                <a:solidFill>
                  <a:srgbClr val="006A97"/>
                </a:solidFill>
              </a:defRPr>
            </a:lvl8pPr>
            <a:lvl9pPr marL="0" lvl="8">
              <a:buSzPct val="100000"/>
              <a:buFont typeface="Trebuchet MS" panose="020B0603020202020204" pitchFamily="34" charset="0"/>
              <a:buChar char="​"/>
              <a:defRPr sz="2400">
                <a:solidFill>
                  <a:srgbClr val="006A97"/>
                </a:solidFill>
              </a:defRPr>
            </a:lvl9pPr>
          </a:lstStyle>
          <a:p>
            <a:pPr algn="ctr">
              <a:buNone/>
            </a:pPr>
            <a:r>
              <a:rPr lang="de-DE" sz="1050" b="1" dirty="0">
                <a:solidFill>
                  <a:srgbClr val="0A4E78"/>
                </a:solidFill>
              </a:rPr>
              <a:t>~ 1 - 2 Transportboxen </a:t>
            </a:r>
            <a:br>
              <a:rPr lang="de-DE" sz="1050" b="1" dirty="0">
                <a:solidFill>
                  <a:srgbClr val="0A4E78"/>
                </a:solidFill>
              </a:rPr>
            </a:br>
            <a:r>
              <a:rPr lang="de-DE" sz="1050" b="1" dirty="0">
                <a:solidFill>
                  <a:srgbClr val="0A4E78"/>
                </a:solidFill>
              </a:rPr>
              <a:t>(ca. 75 - 150 l) pro Sammelfahrt</a:t>
            </a:r>
            <a:r>
              <a:rPr lang="de-DE" sz="1050" b="1" baseline="30000" dirty="0">
                <a:solidFill>
                  <a:srgbClr val="0A4E78"/>
                </a:solidFill>
              </a:rPr>
              <a:t>1</a:t>
            </a:r>
            <a:r>
              <a:rPr lang="de-DE" sz="1050" b="1" dirty="0">
                <a:solidFill>
                  <a:srgbClr val="0A4E78"/>
                </a:solidFill>
              </a:rPr>
              <a:t> </a:t>
            </a:r>
          </a:p>
        </p:txBody>
      </p:sp>
      <p:sp>
        <p:nvSpPr>
          <p:cNvPr id="120" name="ee4pContent2">
            <a:extLst>
              <a:ext uri="{FF2B5EF4-FFF2-40B4-BE49-F238E27FC236}">
                <a16:creationId xmlns:a16="http://schemas.microsoft.com/office/drawing/2014/main" id="{3094BD02-4ED8-43B6-BC07-D3B98D9DC05D}"/>
              </a:ext>
            </a:extLst>
          </p:cNvPr>
          <p:cNvSpPr txBox="1"/>
          <p:nvPr/>
        </p:nvSpPr>
        <p:spPr>
          <a:xfrm>
            <a:off x="2947361" y="3954165"/>
            <a:ext cx="2096001" cy="47621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1200">
                <a:solidFill>
                  <a:srgbClr val="008DC9"/>
                </a:solidFill>
              </a:defRPr>
            </a:lvl1pPr>
            <a:lvl2pPr marL="288000" lvl="1" indent="-180000">
              <a:buClr>
                <a:srgbClr val="008DC9"/>
              </a:buClr>
              <a:buSzPct val="100000"/>
              <a:buFont typeface="Trebuchet MS" panose="020B0603020202020204" pitchFamily="34" charset="0"/>
              <a:buChar char="•"/>
              <a:defRPr sz="1200">
                <a:solidFill>
                  <a:srgbClr val="008DC9"/>
                </a:solidFill>
              </a:defRPr>
            </a:lvl2pPr>
            <a:lvl3pPr marL="576000" lvl="2" indent="-180000">
              <a:buClr>
                <a:srgbClr val="008DC9"/>
              </a:buClr>
              <a:buSzPct val="100000"/>
              <a:buFont typeface="Arial" panose="020B0604020202020204" pitchFamily="34" charset="0"/>
              <a:buChar char="–"/>
              <a:defRPr sz="1200">
                <a:solidFill>
                  <a:srgbClr val="008DC9"/>
                </a:solidFill>
              </a:defRPr>
            </a:lvl3pPr>
            <a:lvl4pPr marL="0" lvl="3">
              <a:buSzPct val="100000"/>
              <a:buFont typeface="Trebuchet MS" panose="020B0603020202020204" pitchFamily="34" charset="0"/>
              <a:buChar char="​"/>
              <a:defRPr sz="1600">
                <a:solidFill>
                  <a:srgbClr val="006A97"/>
                </a:solidFill>
              </a:defRPr>
            </a:lvl4pPr>
            <a:lvl5pPr marL="0" lvl="4">
              <a:buSzPct val="100000"/>
              <a:buFont typeface="Trebuchet MS" panose="020B0603020202020204" pitchFamily="34" charset="0"/>
              <a:buChar char="​"/>
              <a:defRPr sz="1600" b="1">
                <a:solidFill>
                  <a:srgbClr val="008DC9"/>
                </a:solidFill>
              </a:defRPr>
            </a:lvl5pPr>
            <a:lvl6pPr marL="288000" lvl="5" indent="-180000">
              <a:buClr>
                <a:srgbClr val="008DC9"/>
              </a:buClr>
              <a:buSzPct val="100000"/>
              <a:buFont typeface="Trebuchet MS" panose="020B0603020202020204" pitchFamily="34" charset="0"/>
              <a:buChar char="•"/>
              <a:defRPr sz="1600">
                <a:solidFill>
                  <a:srgbClr val="008DC9"/>
                </a:solidFill>
              </a:defRPr>
            </a:lvl6pPr>
            <a:lvl7pPr marL="0" lvl="6">
              <a:buSzPct val="100000"/>
              <a:buFont typeface="Trebuchet MS" panose="020B0603020202020204" pitchFamily="34" charset="0"/>
              <a:buChar char="​"/>
              <a:defRPr sz="4400">
                <a:solidFill>
                  <a:srgbClr val="008DC9"/>
                </a:solidFill>
              </a:defRPr>
            </a:lvl7pPr>
            <a:lvl8pPr marL="0" lvl="7">
              <a:buSzPct val="100000"/>
              <a:buFont typeface="Trebuchet MS" panose="020B0603020202020204" pitchFamily="34" charset="0"/>
              <a:buChar char="​"/>
              <a:defRPr sz="4000">
                <a:solidFill>
                  <a:srgbClr val="006A97"/>
                </a:solidFill>
              </a:defRPr>
            </a:lvl8pPr>
            <a:lvl9pPr marL="0" lvl="8">
              <a:buSzPct val="100000"/>
              <a:buFont typeface="Trebuchet MS" panose="020B0603020202020204" pitchFamily="34" charset="0"/>
              <a:buChar char="​"/>
              <a:defRPr sz="2400">
                <a:solidFill>
                  <a:srgbClr val="006A97"/>
                </a:solidFill>
              </a:defRPr>
            </a:lvl9pPr>
          </a:lstStyle>
          <a:p>
            <a:pPr algn="ctr">
              <a:buNone/>
            </a:pPr>
            <a:r>
              <a:rPr lang="de-DE" sz="1050" b="1" dirty="0">
                <a:solidFill>
                  <a:srgbClr val="0A4E78"/>
                </a:solidFill>
              </a:rPr>
              <a:t>~ 20 - 40 Transportboxen</a:t>
            </a:r>
          </a:p>
          <a:p>
            <a:pPr algn="ctr">
              <a:buNone/>
            </a:pPr>
            <a:r>
              <a:rPr lang="de-DE" sz="1050" b="1" dirty="0">
                <a:solidFill>
                  <a:srgbClr val="0A4E78"/>
                </a:solidFill>
              </a:rPr>
              <a:t>(ca. 1.500 - 3.000 l) pro Knotenpunkt</a:t>
            </a:r>
          </a:p>
        </p:txBody>
      </p:sp>
      <p:grpSp>
        <p:nvGrpSpPr>
          <p:cNvPr id="13" name="Group 12">
            <a:extLst>
              <a:ext uri="{FF2B5EF4-FFF2-40B4-BE49-F238E27FC236}">
                <a16:creationId xmlns:a16="http://schemas.microsoft.com/office/drawing/2014/main" id="{CA9C23DB-8FE3-4D66-9008-79168C904753}"/>
              </a:ext>
            </a:extLst>
          </p:cNvPr>
          <p:cNvGrpSpPr/>
          <p:nvPr/>
        </p:nvGrpSpPr>
        <p:grpSpPr>
          <a:xfrm>
            <a:off x="996934" y="3552025"/>
            <a:ext cx="1725136" cy="1179965"/>
            <a:chOff x="824953" y="3631349"/>
            <a:chExt cx="1725136" cy="1179965"/>
          </a:xfrm>
        </p:grpSpPr>
        <p:grpSp>
          <p:nvGrpSpPr>
            <p:cNvPr id="289" name="Group 288">
              <a:extLst>
                <a:ext uri="{FF2B5EF4-FFF2-40B4-BE49-F238E27FC236}">
                  <a16:creationId xmlns:a16="http://schemas.microsoft.com/office/drawing/2014/main" id="{17AE3135-C50C-424E-BC02-A170EAEFD1B7}"/>
                </a:ext>
              </a:extLst>
            </p:cNvPr>
            <p:cNvGrpSpPr/>
            <p:nvPr/>
          </p:nvGrpSpPr>
          <p:grpSpPr>
            <a:xfrm>
              <a:off x="824953" y="3918591"/>
              <a:ext cx="318238" cy="318238"/>
              <a:chOff x="827584" y="2239982"/>
              <a:chExt cx="548640" cy="548640"/>
            </a:xfrm>
          </p:grpSpPr>
          <p:sp>
            <p:nvSpPr>
              <p:cNvPr id="290" name="AutoShape 23">
                <a:extLst>
                  <a:ext uri="{FF2B5EF4-FFF2-40B4-BE49-F238E27FC236}">
                    <a16:creationId xmlns:a16="http://schemas.microsoft.com/office/drawing/2014/main" id="{E15B713B-4098-4BF0-817F-B986D55BDD32}"/>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91" name="Freeform 11">
                <a:extLst>
                  <a:ext uri="{FF2B5EF4-FFF2-40B4-BE49-F238E27FC236}">
                    <a16:creationId xmlns:a16="http://schemas.microsoft.com/office/drawing/2014/main" id="{83319EF1-6BD5-49DD-856D-0581953F6A65}"/>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292" name="Rectangle 291">
                <a:extLst>
                  <a:ext uri="{FF2B5EF4-FFF2-40B4-BE49-F238E27FC236}">
                    <a16:creationId xmlns:a16="http://schemas.microsoft.com/office/drawing/2014/main" id="{416A3364-5097-4C7C-BEEC-EF3A4848E7FD}"/>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293" name="Group 292">
              <a:extLst>
                <a:ext uri="{FF2B5EF4-FFF2-40B4-BE49-F238E27FC236}">
                  <a16:creationId xmlns:a16="http://schemas.microsoft.com/office/drawing/2014/main" id="{2461446F-B877-47EF-A918-314122EB1060}"/>
                </a:ext>
              </a:extLst>
            </p:cNvPr>
            <p:cNvGrpSpPr/>
            <p:nvPr/>
          </p:nvGrpSpPr>
          <p:grpSpPr>
            <a:xfrm>
              <a:off x="1176677" y="3918591"/>
              <a:ext cx="318238" cy="318238"/>
              <a:chOff x="827584" y="2239982"/>
              <a:chExt cx="548640" cy="548640"/>
            </a:xfrm>
          </p:grpSpPr>
          <p:sp>
            <p:nvSpPr>
              <p:cNvPr id="294" name="AutoShape 23">
                <a:extLst>
                  <a:ext uri="{FF2B5EF4-FFF2-40B4-BE49-F238E27FC236}">
                    <a16:creationId xmlns:a16="http://schemas.microsoft.com/office/drawing/2014/main" id="{573FD3CB-AB7B-4812-A42A-AAB047ABDCA6}"/>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95" name="Freeform 11">
                <a:extLst>
                  <a:ext uri="{FF2B5EF4-FFF2-40B4-BE49-F238E27FC236}">
                    <a16:creationId xmlns:a16="http://schemas.microsoft.com/office/drawing/2014/main" id="{05F368B0-77C3-49F9-A4C9-87D6B71124CB}"/>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296" name="Rectangle 295">
                <a:extLst>
                  <a:ext uri="{FF2B5EF4-FFF2-40B4-BE49-F238E27FC236}">
                    <a16:creationId xmlns:a16="http://schemas.microsoft.com/office/drawing/2014/main" id="{BB5BAF37-9A44-43D0-8F37-18A9031A9B7A}"/>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297" name="Group 296">
              <a:extLst>
                <a:ext uri="{FF2B5EF4-FFF2-40B4-BE49-F238E27FC236}">
                  <a16:creationId xmlns:a16="http://schemas.microsoft.com/office/drawing/2014/main" id="{5FB4CDFA-5476-4D64-992B-1A19A6975489}"/>
                </a:ext>
              </a:extLst>
            </p:cNvPr>
            <p:cNvGrpSpPr/>
            <p:nvPr/>
          </p:nvGrpSpPr>
          <p:grpSpPr>
            <a:xfrm>
              <a:off x="1528401" y="3918591"/>
              <a:ext cx="318238" cy="318238"/>
              <a:chOff x="827584" y="2239982"/>
              <a:chExt cx="548640" cy="548640"/>
            </a:xfrm>
          </p:grpSpPr>
          <p:sp>
            <p:nvSpPr>
              <p:cNvPr id="298" name="AutoShape 23">
                <a:extLst>
                  <a:ext uri="{FF2B5EF4-FFF2-40B4-BE49-F238E27FC236}">
                    <a16:creationId xmlns:a16="http://schemas.microsoft.com/office/drawing/2014/main" id="{F4CF5659-6662-4E6E-9317-349F9A6C0E49}"/>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99" name="Freeform 11">
                <a:extLst>
                  <a:ext uri="{FF2B5EF4-FFF2-40B4-BE49-F238E27FC236}">
                    <a16:creationId xmlns:a16="http://schemas.microsoft.com/office/drawing/2014/main" id="{86D466D3-442C-4340-A311-346C98DB6A30}"/>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00" name="Rectangle 299">
                <a:extLst>
                  <a:ext uri="{FF2B5EF4-FFF2-40B4-BE49-F238E27FC236}">
                    <a16:creationId xmlns:a16="http://schemas.microsoft.com/office/drawing/2014/main" id="{722D849D-274E-4D88-B617-3277496D6359}"/>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01" name="Group 300">
              <a:extLst>
                <a:ext uri="{FF2B5EF4-FFF2-40B4-BE49-F238E27FC236}">
                  <a16:creationId xmlns:a16="http://schemas.microsoft.com/office/drawing/2014/main" id="{A14720B2-C57F-405D-9BD0-8C7911EF6622}"/>
                </a:ext>
              </a:extLst>
            </p:cNvPr>
            <p:cNvGrpSpPr/>
            <p:nvPr/>
          </p:nvGrpSpPr>
          <p:grpSpPr>
            <a:xfrm>
              <a:off x="2231851" y="3918591"/>
              <a:ext cx="318238" cy="318238"/>
              <a:chOff x="827584" y="2239982"/>
              <a:chExt cx="548640" cy="548640"/>
            </a:xfrm>
          </p:grpSpPr>
          <p:sp>
            <p:nvSpPr>
              <p:cNvPr id="302" name="AutoShape 23">
                <a:extLst>
                  <a:ext uri="{FF2B5EF4-FFF2-40B4-BE49-F238E27FC236}">
                    <a16:creationId xmlns:a16="http://schemas.microsoft.com/office/drawing/2014/main" id="{308F886B-BC31-46ED-888C-CB33390DDA58}"/>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03" name="Freeform 11">
                <a:extLst>
                  <a:ext uri="{FF2B5EF4-FFF2-40B4-BE49-F238E27FC236}">
                    <a16:creationId xmlns:a16="http://schemas.microsoft.com/office/drawing/2014/main" id="{4F6B90AD-687C-48C4-8D4E-D3C2D514BBFA}"/>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04" name="Rectangle 303">
                <a:extLst>
                  <a:ext uri="{FF2B5EF4-FFF2-40B4-BE49-F238E27FC236}">
                    <a16:creationId xmlns:a16="http://schemas.microsoft.com/office/drawing/2014/main" id="{966DADB4-DCE9-441B-A78A-A36DC542CBED}"/>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05" name="Group 304">
              <a:extLst>
                <a:ext uri="{FF2B5EF4-FFF2-40B4-BE49-F238E27FC236}">
                  <a16:creationId xmlns:a16="http://schemas.microsoft.com/office/drawing/2014/main" id="{A6618F9E-2A75-4965-A3C7-A3D5998B31BB}"/>
                </a:ext>
              </a:extLst>
            </p:cNvPr>
            <p:cNvGrpSpPr/>
            <p:nvPr/>
          </p:nvGrpSpPr>
          <p:grpSpPr>
            <a:xfrm>
              <a:off x="1880125" y="3918591"/>
              <a:ext cx="318238" cy="318238"/>
              <a:chOff x="827584" y="2239982"/>
              <a:chExt cx="548640" cy="548640"/>
            </a:xfrm>
          </p:grpSpPr>
          <p:sp>
            <p:nvSpPr>
              <p:cNvPr id="306" name="AutoShape 23">
                <a:extLst>
                  <a:ext uri="{FF2B5EF4-FFF2-40B4-BE49-F238E27FC236}">
                    <a16:creationId xmlns:a16="http://schemas.microsoft.com/office/drawing/2014/main" id="{3E85A02C-6A63-4EDE-992A-C526E172DBA0}"/>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07" name="Freeform 11">
                <a:extLst>
                  <a:ext uri="{FF2B5EF4-FFF2-40B4-BE49-F238E27FC236}">
                    <a16:creationId xmlns:a16="http://schemas.microsoft.com/office/drawing/2014/main" id="{18F50FF6-7799-4A02-A673-5A4C6742CD2F}"/>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08" name="Rectangle 307">
                <a:extLst>
                  <a:ext uri="{FF2B5EF4-FFF2-40B4-BE49-F238E27FC236}">
                    <a16:creationId xmlns:a16="http://schemas.microsoft.com/office/drawing/2014/main" id="{6FBC2028-674D-488B-9C88-540A12FB3320}"/>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39" name="Group 338">
              <a:extLst>
                <a:ext uri="{FF2B5EF4-FFF2-40B4-BE49-F238E27FC236}">
                  <a16:creationId xmlns:a16="http://schemas.microsoft.com/office/drawing/2014/main" id="{92E9FD88-126A-472D-ADD8-B20145D8FF2F}"/>
                </a:ext>
              </a:extLst>
            </p:cNvPr>
            <p:cNvGrpSpPr/>
            <p:nvPr/>
          </p:nvGrpSpPr>
          <p:grpSpPr>
            <a:xfrm>
              <a:off x="824953" y="4493076"/>
              <a:ext cx="318238" cy="318238"/>
              <a:chOff x="827584" y="2239982"/>
              <a:chExt cx="548640" cy="548640"/>
            </a:xfrm>
          </p:grpSpPr>
          <p:sp>
            <p:nvSpPr>
              <p:cNvPr id="340" name="AutoShape 23">
                <a:extLst>
                  <a:ext uri="{FF2B5EF4-FFF2-40B4-BE49-F238E27FC236}">
                    <a16:creationId xmlns:a16="http://schemas.microsoft.com/office/drawing/2014/main" id="{9AEA5930-9D46-4C9A-9DAA-95878CF5D8A5}"/>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41" name="Freeform 11">
                <a:extLst>
                  <a:ext uri="{FF2B5EF4-FFF2-40B4-BE49-F238E27FC236}">
                    <a16:creationId xmlns:a16="http://schemas.microsoft.com/office/drawing/2014/main" id="{6A1D6709-EEA1-4033-9DDA-C49569A63918}"/>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42" name="Rectangle 341">
                <a:extLst>
                  <a:ext uri="{FF2B5EF4-FFF2-40B4-BE49-F238E27FC236}">
                    <a16:creationId xmlns:a16="http://schemas.microsoft.com/office/drawing/2014/main" id="{91478D95-96A4-4809-8B70-F45FD98D90DD}"/>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43" name="Group 342">
              <a:extLst>
                <a:ext uri="{FF2B5EF4-FFF2-40B4-BE49-F238E27FC236}">
                  <a16:creationId xmlns:a16="http://schemas.microsoft.com/office/drawing/2014/main" id="{D9A30370-958F-4AF1-9B4F-2C113498ECC4}"/>
                </a:ext>
              </a:extLst>
            </p:cNvPr>
            <p:cNvGrpSpPr/>
            <p:nvPr/>
          </p:nvGrpSpPr>
          <p:grpSpPr>
            <a:xfrm>
              <a:off x="1176677" y="4493076"/>
              <a:ext cx="318238" cy="318238"/>
              <a:chOff x="827584" y="2239982"/>
              <a:chExt cx="548640" cy="548640"/>
            </a:xfrm>
          </p:grpSpPr>
          <p:sp>
            <p:nvSpPr>
              <p:cNvPr id="344" name="AutoShape 23">
                <a:extLst>
                  <a:ext uri="{FF2B5EF4-FFF2-40B4-BE49-F238E27FC236}">
                    <a16:creationId xmlns:a16="http://schemas.microsoft.com/office/drawing/2014/main" id="{046DA4E5-0B2D-4E76-8DB7-E854A86D995A}"/>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45" name="Freeform 11">
                <a:extLst>
                  <a:ext uri="{FF2B5EF4-FFF2-40B4-BE49-F238E27FC236}">
                    <a16:creationId xmlns:a16="http://schemas.microsoft.com/office/drawing/2014/main" id="{1E3C45A4-B5A1-4835-8D20-FB2792681672}"/>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46" name="Rectangle 345">
                <a:extLst>
                  <a:ext uri="{FF2B5EF4-FFF2-40B4-BE49-F238E27FC236}">
                    <a16:creationId xmlns:a16="http://schemas.microsoft.com/office/drawing/2014/main" id="{6363F23E-C68C-4830-ADFA-ADD531CCCF21}"/>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47" name="Group 346">
              <a:extLst>
                <a:ext uri="{FF2B5EF4-FFF2-40B4-BE49-F238E27FC236}">
                  <a16:creationId xmlns:a16="http://schemas.microsoft.com/office/drawing/2014/main" id="{15E955FC-3588-4EDA-AD9E-59C58B32F30F}"/>
                </a:ext>
              </a:extLst>
            </p:cNvPr>
            <p:cNvGrpSpPr/>
            <p:nvPr/>
          </p:nvGrpSpPr>
          <p:grpSpPr>
            <a:xfrm>
              <a:off x="1528401" y="4493076"/>
              <a:ext cx="318238" cy="318238"/>
              <a:chOff x="827584" y="2239982"/>
              <a:chExt cx="548640" cy="548640"/>
            </a:xfrm>
          </p:grpSpPr>
          <p:sp>
            <p:nvSpPr>
              <p:cNvPr id="348" name="AutoShape 23">
                <a:extLst>
                  <a:ext uri="{FF2B5EF4-FFF2-40B4-BE49-F238E27FC236}">
                    <a16:creationId xmlns:a16="http://schemas.microsoft.com/office/drawing/2014/main" id="{0B803336-337E-4E2C-83FE-DB24F0732CB4}"/>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49" name="Freeform 11">
                <a:extLst>
                  <a:ext uri="{FF2B5EF4-FFF2-40B4-BE49-F238E27FC236}">
                    <a16:creationId xmlns:a16="http://schemas.microsoft.com/office/drawing/2014/main" id="{FBC3D782-4405-4438-B83C-DAFA64610B23}"/>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50" name="Rectangle 349">
                <a:extLst>
                  <a:ext uri="{FF2B5EF4-FFF2-40B4-BE49-F238E27FC236}">
                    <a16:creationId xmlns:a16="http://schemas.microsoft.com/office/drawing/2014/main" id="{62B16CDE-FCCC-4B9D-BEBB-658E27C11448}"/>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51" name="Group 350">
              <a:extLst>
                <a:ext uri="{FF2B5EF4-FFF2-40B4-BE49-F238E27FC236}">
                  <a16:creationId xmlns:a16="http://schemas.microsoft.com/office/drawing/2014/main" id="{E4995DF8-BD11-41D8-A076-760B4132E746}"/>
                </a:ext>
              </a:extLst>
            </p:cNvPr>
            <p:cNvGrpSpPr/>
            <p:nvPr/>
          </p:nvGrpSpPr>
          <p:grpSpPr>
            <a:xfrm>
              <a:off x="2231851" y="4493076"/>
              <a:ext cx="318238" cy="318238"/>
              <a:chOff x="827584" y="2239982"/>
              <a:chExt cx="548640" cy="548640"/>
            </a:xfrm>
          </p:grpSpPr>
          <p:sp>
            <p:nvSpPr>
              <p:cNvPr id="352" name="AutoShape 23">
                <a:extLst>
                  <a:ext uri="{FF2B5EF4-FFF2-40B4-BE49-F238E27FC236}">
                    <a16:creationId xmlns:a16="http://schemas.microsoft.com/office/drawing/2014/main" id="{69439E10-F22D-464A-AB93-7AECCF8C18DC}"/>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53" name="Freeform 11">
                <a:extLst>
                  <a:ext uri="{FF2B5EF4-FFF2-40B4-BE49-F238E27FC236}">
                    <a16:creationId xmlns:a16="http://schemas.microsoft.com/office/drawing/2014/main" id="{1A927B7C-3CA2-4EEA-A61B-20212CD7504D}"/>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54" name="Rectangle 353">
                <a:extLst>
                  <a:ext uri="{FF2B5EF4-FFF2-40B4-BE49-F238E27FC236}">
                    <a16:creationId xmlns:a16="http://schemas.microsoft.com/office/drawing/2014/main" id="{6155E8EC-5ADE-44EE-9345-DB7B5F36B0BE}"/>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55" name="Group 354">
              <a:extLst>
                <a:ext uri="{FF2B5EF4-FFF2-40B4-BE49-F238E27FC236}">
                  <a16:creationId xmlns:a16="http://schemas.microsoft.com/office/drawing/2014/main" id="{CB64EFE9-AB4E-436B-90AA-118575D93CC9}"/>
                </a:ext>
              </a:extLst>
            </p:cNvPr>
            <p:cNvGrpSpPr/>
            <p:nvPr/>
          </p:nvGrpSpPr>
          <p:grpSpPr>
            <a:xfrm>
              <a:off x="1880125" y="4493076"/>
              <a:ext cx="318238" cy="318238"/>
              <a:chOff x="827584" y="2239982"/>
              <a:chExt cx="548640" cy="548640"/>
            </a:xfrm>
          </p:grpSpPr>
          <p:sp>
            <p:nvSpPr>
              <p:cNvPr id="356" name="AutoShape 23">
                <a:extLst>
                  <a:ext uri="{FF2B5EF4-FFF2-40B4-BE49-F238E27FC236}">
                    <a16:creationId xmlns:a16="http://schemas.microsoft.com/office/drawing/2014/main" id="{459F5DB1-04AF-4A55-B7D2-F0BF60432834}"/>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57" name="Freeform 11">
                <a:extLst>
                  <a:ext uri="{FF2B5EF4-FFF2-40B4-BE49-F238E27FC236}">
                    <a16:creationId xmlns:a16="http://schemas.microsoft.com/office/drawing/2014/main" id="{A44690D3-673A-4F15-86BD-20BBDA5CA1C7}"/>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58" name="Rectangle 357">
                <a:extLst>
                  <a:ext uri="{FF2B5EF4-FFF2-40B4-BE49-F238E27FC236}">
                    <a16:creationId xmlns:a16="http://schemas.microsoft.com/office/drawing/2014/main" id="{ADE265C8-DB40-4559-BC30-7AEF399BE942}"/>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09" name="Group 308">
              <a:extLst>
                <a:ext uri="{FF2B5EF4-FFF2-40B4-BE49-F238E27FC236}">
                  <a16:creationId xmlns:a16="http://schemas.microsoft.com/office/drawing/2014/main" id="{18224ACC-3306-4DE1-8A36-2450923E6738}"/>
                </a:ext>
              </a:extLst>
            </p:cNvPr>
            <p:cNvGrpSpPr/>
            <p:nvPr/>
          </p:nvGrpSpPr>
          <p:grpSpPr>
            <a:xfrm>
              <a:off x="824953" y="4205833"/>
              <a:ext cx="318238" cy="318238"/>
              <a:chOff x="827584" y="2239982"/>
              <a:chExt cx="548640" cy="548640"/>
            </a:xfrm>
          </p:grpSpPr>
          <p:sp>
            <p:nvSpPr>
              <p:cNvPr id="311" name="AutoShape 23">
                <a:extLst>
                  <a:ext uri="{FF2B5EF4-FFF2-40B4-BE49-F238E27FC236}">
                    <a16:creationId xmlns:a16="http://schemas.microsoft.com/office/drawing/2014/main" id="{071D1014-02D5-4996-B71E-8DD4A34EAAB0}"/>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14" name="Freeform 11">
                <a:extLst>
                  <a:ext uri="{FF2B5EF4-FFF2-40B4-BE49-F238E27FC236}">
                    <a16:creationId xmlns:a16="http://schemas.microsoft.com/office/drawing/2014/main" id="{54BB0BA9-E530-4B05-BC68-3FBE58AD502E}"/>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17" name="Rectangle 316">
                <a:extLst>
                  <a:ext uri="{FF2B5EF4-FFF2-40B4-BE49-F238E27FC236}">
                    <a16:creationId xmlns:a16="http://schemas.microsoft.com/office/drawing/2014/main" id="{44CE66EE-E541-4C4A-A0D2-056069680BE8}"/>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20" name="Group 319">
              <a:extLst>
                <a:ext uri="{FF2B5EF4-FFF2-40B4-BE49-F238E27FC236}">
                  <a16:creationId xmlns:a16="http://schemas.microsoft.com/office/drawing/2014/main" id="{850983C0-C017-434D-90E1-060150AB474E}"/>
                </a:ext>
              </a:extLst>
            </p:cNvPr>
            <p:cNvGrpSpPr/>
            <p:nvPr/>
          </p:nvGrpSpPr>
          <p:grpSpPr>
            <a:xfrm>
              <a:off x="1176677" y="4205833"/>
              <a:ext cx="318238" cy="318238"/>
              <a:chOff x="827584" y="2239982"/>
              <a:chExt cx="548640" cy="548640"/>
            </a:xfrm>
          </p:grpSpPr>
          <p:sp>
            <p:nvSpPr>
              <p:cNvPr id="323" name="AutoShape 23">
                <a:extLst>
                  <a:ext uri="{FF2B5EF4-FFF2-40B4-BE49-F238E27FC236}">
                    <a16:creationId xmlns:a16="http://schemas.microsoft.com/office/drawing/2014/main" id="{3BEB2DE1-25C4-4E96-8BD2-AA279C68EC72}"/>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25" name="Freeform 11">
                <a:extLst>
                  <a:ext uri="{FF2B5EF4-FFF2-40B4-BE49-F238E27FC236}">
                    <a16:creationId xmlns:a16="http://schemas.microsoft.com/office/drawing/2014/main" id="{C037B4DF-6E32-4BC4-9398-08E09E22F92E}"/>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26" name="Rectangle 325">
                <a:extLst>
                  <a:ext uri="{FF2B5EF4-FFF2-40B4-BE49-F238E27FC236}">
                    <a16:creationId xmlns:a16="http://schemas.microsoft.com/office/drawing/2014/main" id="{2034E4D5-976A-4FAE-A076-ED681647FD2A}"/>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27" name="Group 326">
              <a:extLst>
                <a:ext uri="{FF2B5EF4-FFF2-40B4-BE49-F238E27FC236}">
                  <a16:creationId xmlns:a16="http://schemas.microsoft.com/office/drawing/2014/main" id="{5AB69B0E-8CC9-4948-9915-B828A3E810E5}"/>
                </a:ext>
              </a:extLst>
            </p:cNvPr>
            <p:cNvGrpSpPr/>
            <p:nvPr/>
          </p:nvGrpSpPr>
          <p:grpSpPr>
            <a:xfrm>
              <a:off x="1528401" y="4205833"/>
              <a:ext cx="318238" cy="318238"/>
              <a:chOff x="827584" y="2239982"/>
              <a:chExt cx="548640" cy="548640"/>
            </a:xfrm>
          </p:grpSpPr>
          <p:sp>
            <p:nvSpPr>
              <p:cNvPr id="328" name="AutoShape 23">
                <a:extLst>
                  <a:ext uri="{FF2B5EF4-FFF2-40B4-BE49-F238E27FC236}">
                    <a16:creationId xmlns:a16="http://schemas.microsoft.com/office/drawing/2014/main" id="{4800B0B3-EA44-4420-B096-F8DD2E1A8AF8}"/>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29" name="Freeform 11">
                <a:extLst>
                  <a:ext uri="{FF2B5EF4-FFF2-40B4-BE49-F238E27FC236}">
                    <a16:creationId xmlns:a16="http://schemas.microsoft.com/office/drawing/2014/main" id="{9FD59481-DE80-4EE5-BCFE-44DC21E86F88}"/>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30" name="Rectangle 329">
                <a:extLst>
                  <a:ext uri="{FF2B5EF4-FFF2-40B4-BE49-F238E27FC236}">
                    <a16:creationId xmlns:a16="http://schemas.microsoft.com/office/drawing/2014/main" id="{8768FAE6-CC64-4835-ADAD-932B410F6C35}"/>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31" name="Group 330">
              <a:extLst>
                <a:ext uri="{FF2B5EF4-FFF2-40B4-BE49-F238E27FC236}">
                  <a16:creationId xmlns:a16="http://schemas.microsoft.com/office/drawing/2014/main" id="{02410497-F96D-4A19-BF8B-345550B0E516}"/>
                </a:ext>
              </a:extLst>
            </p:cNvPr>
            <p:cNvGrpSpPr/>
            <p:nvPr/>
          </p:nvGrpSpPr>
          <p:grpSpPr>
            <a:xfrm>
              <a:off x="2231851" y="4205833"/>
              <a:ext cx="318238" cy="318238"/>
              <a:chOff x="827584" y="2239982"/>
              <a:chExt cx="548640" cy="548640"/>
            </a:xfrm>
          </p:grpSpPr>
          <p:sp>
            <p:nvSpPr>
              <p:cNvPr id="332" name="AutoShape 23">
                <a:extLst>
                  <a:ext uri="{FF2B5EF4-FFF2-40B4-BE49-F238E27FC236}">
                    <a16:creationId xmlns:a16="http://schemas.microsoft.com/office/drawing/2014/main" id="{8E606561-D80C-4C89-940E-6C0B8EB6E709}"/>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33" name="Freeform 11">
                <a:extLst>
                  <a:ext uri="{FF2B5EF4-FFF2-40B4-BE49-F238E27FC236}">
                    <a16:creationId xmlns:a16="http://schemas.microsoft.com/office/drawing/2014/main" id="{5B969A30-37D0-4328-A8A1-84718E812E67}"/>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34" name="Rectangle 333">
                <a:extLst>
                  <a:ext uri="{FF2B5EF4-FFF2-40B4-BE49-F238E27FC236}">
                    <a16:creationId xmlns:a16="http://schemas.microsoft.com/office/drawing/2014/main" id="{CD5700C2-549B-47CE-9501-C70AF1FDE390}"/>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335" name="Group 334">
              <a:extLst>
                <a:ext uri="{FF2B5EF4-FFF2-40B4-BE49-F238E27FC236}">
                  <a16:creationId xmlns:a16="http://schemas.microsoft.com/office/drawing/2014/main" id="{296EEDC6-2757-4261-820E-E811DEA343C1}"/>
                </a:ext>
              </a:extLst>
            </p:cNvPr>
            <p:cNvGrpSpPr/>
            <p:nvPr/>
          </p:nvGrpSpPr>
          <p:grpSpPr>
            <a:xfrm>
              <a:off x="1880125" y="4205833"/>
              <a:ext cx="318238" cy="318238"/>
              <a:chOff x="827584" y="2239982"/>
              <a:chExt cx="548640" cy="548640"/>
            </a:xfrm>
          </p:grpSpPr>
          <p:sp>
            <p:nvSpPr>
              <p:cNvPr id="336" name="AutoShape 23">
                <a:extLst>
                  <a:ext uri="{FF2B5EF4-FFF2-40B4-BE49-F238E27FC236}">
                    <a16:creationId xmlns:a16="http://schemas.microsoft.com/office/drawing/2014/main" id="{C8F4E72A-645D-48D0-92D4-6BA4ACCD57C2}"/>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337" name="Freeform 11">
                <a:extLst>
                  <a:ext uri="{FF2B5EF4-FFF2-40B4-BE49-F238E27FC236}">
                    <a16:creationId xmlns:a16="http://schemas.microsoft.com/office/drawing/2014/main" id="{3315148B-4F8E-45C2-B31B-1A37AAE0C26C}"/>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338" name="Rectangle 337">
                <a:extLst>
                  <a:ext uri="{FF2B5EF4-FFF2-40B4-BE49-F238E27FC236}">
                    <a16:creationId xmlns:a16="http://schemas.microsoft.com/office/drawing/2014/main" id="{4F2280E6-EFD0-43F1-B642-7C28B1CB14D7}"/>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79" name="Group 178">
              <a:extLst>
                <a:ext uri="{FF2B5EF4-FFF2-40B4-BE49-F238E27FC236}">
                  <a16:creationId xmlns:a16="http://schemas.microsoft.com/office/drawing/2014/main" id="{5673C533-E16D-4876-B515-EA856AAD7641}"/>
                </a:ext>
              </a:extLst>
            </p:cNvPr>
            <p:cNvGrpSpPr/>
            <p:nvPr/>
          </p:nvGrpSpPr>
          <p:grpSpPr>
            <a:xfrm>
              <a:off x="824953" y="3631349"/>
              <a:ext cx="318238" cy="318238"/>
              <a:chOff x="827584" y="2239982"/>
              <a:chExt cx="548640" cy="548640"/>
            </a:xfrm>
          </p:grpSpPr>
          <p:sp>
            <p:nvSpPr>
              <p:cNvPr id="181" name="AutoShape 23">
                <a:extLst>
                  <a:ext uri="{FF2B5EF4-FFF2-40B4-BE49-F238E27FC236}">
                    <a16:creationId xmlns:a16="http://schemas.microsoft.com/office/drawing/2014/main" id="{A0DD530C-3FD1-45DC-BA30-B798669F7D95}"/>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82" name="Freeform 11">
                <a:extLst>
                  <a:ext uri="{FF2B5EF4-FFF2-40B4-BE49-F238E27FC236}">
                    <a16:creationId xmlns:a16="http://schemas.microsoft.com/office/drawing/2014/main" id="{44EF75D6-426E-400B-B00C-7BD9016B6113}"/>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183" name="Rectangle 182">
                <a:extLst>
                  <a:ext uri="{FF2B5EF4-FFF2-40B4-BE49-F238E27FC236}">
                    <a16:creationId xmlns:a16="http://schemas.microsoft.com/office/drawing/2014/main" id="{4C063B12-C3CC-4956-A629-7859DF582912}"/>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80" name="Group 179">
              <a:extLst>
                <a:ext uri="{FF2B5EF4-FFF2-40B4-BE49-F238E27FC236}">
                  <a16:creationId xmlns:a16="http://schemas.microsoft.com/office/drawing/2014/main" id="{0244E1EF-AF24-4CE2-AB8F-1D0221FCAF18}"/>
                </a:ext>
              </a:extLst>
            </p:cNvPr>
            <p:cNvGrpSpPr/>
            <p:nvPr/>
          </p:nvGrpSpPr>
          <p:grpSpPr>
            <a:xfrm>
              <a:off x="1176677" y="3631349"/>
              <a:ext cx="318238" cy="318238"/>
              <a:chOff x="827584" y="2239982"/>
              <a:chExt cx="548640" cy="548640"/>
            </a:xfrm>
          </p:grpSpPr>
          <p:sp>
            <p:nvSpPr>
              <p:cNvPr id="187" name="AutoShape 23">
                <a:extLst>
                  <a:ext uri="{FF2B5EF4-FFF2-40B4-BE49-F238E27FC236}">
                    <a16:creationId xmlns:a16="http://schemas.microsoft.com/office/drawing/2014/main" id="{4F3344C5-B998-4081-9EC2-75C628C2F313}"/>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88" name="Freeform 11">
                <a:extLst>
                  <a:ext uri="{FF2B5EF4-FFF2-40B4-BE49-F238E27FC236}">
                    <a16:creationId xmlns:a16="http://schemas.microsoft.com/office/drawing/2014/main" id="{D25863E9-4355-41C9-B1D4-F643D62BA29F}"/>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189" name="Rectangle 188">
                <a:extLst>
                  <a:ext uri="{FF2B5EF4-FFF2-40B4-BE49-F238E27FC236}">
                    <a16:creationId xmlns:a16="http://schemas.microsoft.com/office/drawing/2014/main" id="{FE12DCB9-DBBF-4343-8817-C0481DB37B8E}"/>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190" name="Group 189">
              <a:extLst>
                <a:ext uri="{FF2B5EF4-FFF2-40B4-BE49-F238E27FC236}">
                  <a16:creationId xmlns:a16="http://schemas.microsoft.com/office/drawing/2014/main" id="{CCE9390F-ECEB-4DF0-B04D-D842C88A5690}"/>
                </a:ext>
              </a:extLst>
            </p:cNvPr>
            <p:cNvGrpSpPr/>
            <p:nvPr/>
          </p:nvGrpSpPr>
          <p:grpSpPr>
            <a:xfrm>
              <a:off x="1528401" y="3631349"/>
              <a:ext cx="318238" cy="318238"/>
              <a:chOff x="827584" y="2239982"/>
              <a:chExt cx="548640" cy="548640"/>
            </a:xfrm>
          </p:grpSpPr>
          <p:sp>
            <p:nvSpPr>
              <p:cNvPr id="200" name="AutoShape 23">
                <a:extLst>
                  <a:ext uri="{FF2B5EF4-FFF2-40B4-BE49-F238E27FC236}">
                    <a16:creationId xmlns:a16="http://schemas.microsoft.com/office/drawing/2014/main" id="{78A89CA7-2889-4637-9A54-AF0AC98E1B81}"/>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01" name="Freeform 11">
                <a:extLst>
                  <a:ext uri="{FF2B5EF4-FFF2-40B4-BE49-F238E27FC236}">
                    <a16:creationId xmlns:a16="http://schemas.microsoft.com/office/drawing/2014/main" id="{1B785D39-7D93-4C94-85FE-B19931D13A6C}"/>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202" name="Rectangle 201">
                <a:extLst>
                  <a:ext uri="{FF2B5EF4-FFF2-40B4-BE49-F238E27FC236}">
                    <a16:creationId xmlns:a16="http://schemas.microsoft.com/office/drawing/2014/main" id="{00170A14-F0B3-4472-9187-F4ED4A2153D0}"/>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205" name="Group 204">
              <a:extLst>
                <a:ext uri="{FF2B5EF4-FFF2-40B4-BE49-F238E27FC236}">
                  <a16:creationId xmlns:a16="http://schemas.microsoft.com/office/drawing/2014/main" id="{4A134048-7CC4-4498-B4FA-D6670E787F18}"/>
                </a:ext>
              </a:extLst>
            </p:cNvPr>
            <p:cNvGrpSpPr/>
            <p:nvPr/>
          </p:nvGrpSpPr>
          <p:grpSpPr>
            <a:xfrm>
              <a:off x="2231851" y="3631349"/>
              <a:ext cx="318238" cy="318238"/>
              <a:chOff x="827584" y="2239982"/>
              <a:chExt cx="548640" cy="548640"/>
            </a:xfrm>
          </p:grpSpPr>
          <p:sp>
            <p:nvSpPr>
              <p:cNvPr id="222" name="AutoShape 23">
                <a:extLst>
                  <a:ext uri="{FF2B5EF4-FFF2-40B4-BE49-F238E27FC236}">
                    <a16:creationId xmlns:a16="http://schemas.microsoft.com/office/drawing/2014/main" id="{D2A945C0-6DA1-43B8-B454-1740BB39012B}"/>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23" name="Freeform 11">
                <a:extLst>
                  <a:ext uri="{FF2B5EF4-FFF2-40B4-BE49-F238E27FC236}">
                    <a16:creationId xmlns:a16="http://schemas.microsoft.com/office/drawing/2014/main" id="{2B6C0B25-2C24-447E-AACF-DF74411CBD1C}"/>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224" name="Rectangle 223">
                <a:extLst>
                  <a:ext uri="{FF2B5EF4-FFF2-40B4-BE49-F238E27FC236}">
                    <a16:creationId xmlns:a16="http://schemas.microsoft.com/office/drawing/2014/main" id="{4530A703-6821-42DF-8CC0-2FA9B555E960}"/>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nvGrpSpPr>
            <p:cNvPr id="226" name="Group 225">
              <a:extLst>
                <a:ext uri="{FF2B5EF4-FFF2-40B4-BE49-F238E27FC236}">
                  <a16:creationId xmlns:a16="http://schemas.microsoft.com/office/drawing/2014/main" id="{5CAE9A8F-C668-493C-8CDA-681C8D094F3B}"/>
                </a:ext>
              </a:extLst>
            </p:cNvPr>
            <p:cNvGrpSpPr/>
            <p:nvPr/>
          </p:nvGrpSpPr>
          <p:grpSpPr>
            <a:xfrm>
              <a:off x="1880125" y="3631349"/>
              <a:ext cx="318238" cy="318238"/>
              <a:chOff x="827584" y="2239982"/>
              <a:chExt cx="548640" cy="548640"/>
            </a:xfrm>
          </p:grpSpPr>
          <p:sp>
            <p:nvSpPr>
              <p:cNvPr id="227" name="AutoShape 23">
                <a:extLst>
                  <a:ext uri="{FF2B5EF4-FFF2-40B4-BE49-F238E27FC236}">
                    <a16:creationId xmlns:a16="http://schemas.microsoft.com/office/drawing/2014/main" id="{41F2C9DB-CBCC-40D7-9BA0-011B3F5AF538}"/>
                  </a:ext>
                </a:extLst>
              </p:cNvPr>
              <p:cNvSpPr>
                <a:spLocks noChangeAspect="1" noChangeArrowheads="1" noTextEdit="1"/>
              </p:cNvSpPr>
              <p:nvPr/>
            </p:nvSpPr>
            <p:spPr bwMode="auto">
              <a:xfrm>
                <a:off x="827584" y="2239982"/>
                <a:ext cx="548640" cy="548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228" name="Freeform 11">
                <a:extLst>
                  <a:ext uri="{FF2B5EF4-FFF2-40B4-BE49-F238E27FC236}">
                    <a16:creationId xmlns:a16="http://schemas.microsoft.com/office/drawing/2014/main" id="{0AE56805-D1F3-4FB6-AD87-B04917CFACD1}"/>
                  </a:ext>
                </a:extLst>
              </p:cNvPr>
              <p:cNvSpPr>
                <a:spLocks/>
              </p:cNvSpPr>
              <p:nvPr/>
            </p:nvSpPr>
            <p:spPr bwMode="auto">
              <a:xfrm>
                <a:off x="889603" y="2305275"/>
                <a:ext cx="424600" cy="451145"/>
              </a:xfrm>
              <a:custGeom>
                <a:avLst/>
                <a:gdLst>
                  <a:gd name="connsiteX0" fmla="*/ 301625 w 565150"/>
                  <a:gd name="connsiteY0" fmla="*/ 311557 h 600482"/>
                  <a:gd name="connsiteX1" fmla="*/ 538163 w 565150"/>
                  <a:gd name="connsiteY1" fmla="*/ 311557 h 600482"/>
                  <a:gd name="connsiteX2" fmla="*/ 538163 w 565150"/>
                  <a:gd name="connsiteY2" fmla="*/ 326149 h 600482"/>
                  <a:gd name="connsiteX3" fmla="*/ 538163 w 565150"/>
                  <a:gd name="connsiteY3" fmla="*/ 550139 h 600482"/>
                  <a:gd name="connsiteX4" fmla="*/ 487789 w 565150"/>
                  <a:gd name="connsiteY4" fmla="*/ 600482 h 600482"/>
                  <a:gd name="connsiteX5" fmla="*/ 317686 w 565150"/>
                  <a:gd name="connsiteY5" fmla="*/ 600482 h 600482"/>
                  <a:gd name="connsiteX6" fmla="*/ 301625 w 565150"/>
                  <a:gd name="connsiteY6" fmla="*/ 599753 h 600482"/>
                  <a:gd name="connsiteX7" fmla="*/ 301625 w 565150"/>
                  <a:gd name="connsiteY7" fmla="*/ 311557 h 600482"/>
                  <a:gd name="connsiteX8" fmla="*/ 26988 w 565150"/>
                  <a:gd name="connsiteY8" fmla="*/ 311557 h 600482"/>
                  <a:gd name="connsiteX9" fmla="*/ 263526 w 565150"/>
                  <a:gd name="connsiteY9" fmla="*/ 311557 h 600482"/>
                  <a:gd name="connsiteX10" fmla="*/ 263526 w 565150"/>
                  <a:gd name="connsiteY10" fmla="*/ 599753 h 600482"/>
                  <a:gd name="connsiteX11" fmla="*/ 247465 w 565150"/>
                  <a:gd name="connsiteY11" fmla="*/ 600482 h 600482"/>
                  <a:gd name="connsiteX12" fmla="*/ 77362 w 565150"/>
                  <a:gd name="connsiteY12" fmla="*/ 600482 h 600482"/>
                  <a:gd name="connsiteX13" fmla="*/ 26988 w 565150"/>
                  <a:gd name="connsiteY13" fmla="*/ 550139 h 600482"/>
                  <a:gd name="connsiteX14" fmla="*/ 26988 w 565150"/>
                  <a:gd name="connsiteY14" fmla="*/ 326149 h 600482"/>
                  <a:gd name="connsiteX15" fmla="*/ 26988 w 565150"/>
                  <a:gd name="connsiteY15" fmla="*/ 311557 h 600482"/>
                  <a:gd name="connsiteX16" fmla="*/ 301625 w 565150"/>
                  <a:gd name="connsiteY16" fmla="*/ 159157 h 600482"/>
                  <a:gd name="connsiteX17" fmla="*/ 534576 w 565150"/>
                  <a:gd name="connsiteY17" fmla="*/ 159157 h 600482"/>
                  <a:gd name="connsiteX18" fmla="*/ 565150 w 565150"/>
                  <a:gd name="connsiteY18" fmla="*/ 190159 h 600482"/>
                  <a:gd name="connsiteX19" fmla="*/ 565150 w 565150"/>
                  <a:gd name="connsiteY19" fmla="*/ 244043 h 600482"/>
                  <a:gd name="connsiteX20" fmla="*/ 534576 w 565150"/>
                  <a:gd name="connsiteY20" fmla="*/ 275045 h 600482"/>
                  <a:gd name="connsiteX21" fmla="*/ 301625 w 565150"/>
                  <a:gd name="connsiteY21" fmla="*/ 275045 h 600482"/>
                  <a:gd name="connsiteX22" fmla="*/ 301625 w 565150"/>
                  <a:gd name="connsiteY22" fmla="*/ 159157 h 600482"/>
                  <a:gd name="connsiteX23" fmla="*/ 30659 w 565150"/>
                  <a:gd name="connsiteY23" fmla="*/ 159157 h 600482"/>
                  <a:gd name="connsiteX24" fmla="*/ 263525 w 565150"/>
                  <a:gd name="connsiteY24" fmla="*/ 159157 h 600482"/>
                  <a:gd name="connsiteX25" fmla="*/ 263525 w 565150"/>
                  <a:gd name="connsiteY25" fmla="*/ 275045 h 600482"/>
                  <a:gd name="connsiteX26" fmla="*/ 30659 w 565150"/>
                  <a:gd name="connsiteY26" fmla="*/ 275045 h 600482"/>
                  <a:gd name="connsiteX27" fmla="*/ 0 w 565150"/>
                  <a:gd name="connsiteY27" fmla="*/ 244043 h 600482"/>
                  <a:gd name="connsiteX28" fmla="*/ 0 w 565150"/>
                  <a:gd name="connsiteY28" fmla="*/ 190159 h 600482"/>
                  <a:gd name="connsiteX29" fmla="*/ 30659 w 565150"/>
                  <a:gd name="connsiteY29" fmla="*/ 159157 h 600482"/>
                  <a:gd name="connsiteX30" fmla="*/ 263630 w 565150"/>
                  <a:gd name="connsiteY30" fmla="*/ 111532 h 600482"/>
                  <a:gd name="connsiteX31" fmla="*/ 303109 w 565150"/>
                  <a:gd name="connsiteY31" fmla="*/ 111532 h 600482"/>
                  <a:gd name="connsiteX32" fmla="*/ 311151 w 565150"/>
                  <a:gd name="connsiteY32" fmla="*/ 119504 h 600482"/>
                  <a:gd name="connsiteX33" fmla="*/ 311151 w 565150"/>
                  <a:gd name="connsiteY33" fmla="*/ 127476 h 600482"/>
                  <a:gd name="connsiteX34" fmla="*/ 311151 w 565150"/>
                  <a:gd name="connsiteY34" fmla="*/ 136898 h 600482"/>
                  <a:gd name="connsiteX35" fmla="*/ 307496 w 565150"/>
                  <a:gd name="connsiteY35" fmla="*/ 143420 h 600482"/>
                  <a:gd name="connsiteX36" fmla="*/ 303109 w 565150"/>
                  <a:gd name="connsiteY36" fmla="*/ 144870 h 600482"/>
                  <a:gd name="connsiteX37" fmla="*/ 285563 w 565150"/>
                  <a:gd name="connsiteY37" fmla="*/ 144870 h 600482"/>
                  <a:gd name="connsiteX38" fmla="*/ 280445 w 565150"/>
                  <a:gd name="connsiteY38" fmla="*/ 144870 h 600482"/>
                  <a:gd name="connsiteX39" fmla="*/ 263630 w 565150"/>
                  <a:gd name="connsiteY39" fmla="*/ 144870 h 600482"/>
                  <a:gd name="connsiteX40" fmla="*/ 259243 w 565150"/>
                  <a:gd name="connsiteY40" fmla="*/ 143420 h 600482"/>
                  <a:gd name="connsiteX41" fmla="*/ 255588 w 565150"/>
                  <a:gd name="connsiteY41" fmla="*/ 136898 h 600482"/>
                  <a:gd name="connsiteX42" fmla="*/ 255588 w 565150"/>
                  <a:gd name="connsiteY42" fmla="*/ 127476 h 600482"/>
                  <a:gd name="connsiteX43" fmla="*/ 255588 w 565150"/>
                  <a:gd name="connsiteY43" fmla="*/ 119504 h 600482"/>
                  <a:gd name="connsiteX44" fmla="*/ 263630 w 565150"/>
                  <a:gd name="connsiteY44" fmla="*/ 111532 h 600482"/>
                  <a:gd name="connsiteX45" fmla="*/ 445685 w 565150"/>
                  <a:gd name="connsiteY45" fmla="*/ 1769 h 600482"/>
                  <a:gd name="connsiteX46" fmla="*/ 453750 w 565150"/>
                  <a:gd name="connsiteY46" fmla="*/ 3982 h 600482"/>
                  <a:gd name="connsiteX47" fmla="*/ 497743 w 565150"/>
                  <a:gd name="connsiteY47" fmla="*/ 121265 h 600482"/>
                  <a:gd name="connsiteX48" fmla="*/ 496277 w 565150"/>
                  <a:gd name="connsiteY48" fmla="*/ 127903 h 600482"/>
                  <a:gd name="connsiteX49" fmla="*/ 492611 w 565150"/>
                  <a:gd name="connsiteY49" fmla="*/ 129379 h 600482"/>
                  <a:gd name="connsiteX50" fmla="*/ 334237 w 565150"/>
                  <a:gd name="connsiteY50" fmla="*/ 144131 h 600482"/>
                  <a:gd name="connsiteX51" fmla="*/ 326905 w 565150"/>
                  <a:gd name="connsiteY51" fmla="*/ 144869 h 600482"/>
                  <a:gd name="connsiteX52" fmla="*/ 325438 w 565150"/>
                  <a:gd name="connsiteY52" fmla="*/ 144869 h 600482"/>
                  <a:gd name="connsiteX53" fmla="*/ 325438 w 565150"/>
                  <a:gd name="connsiteY53" fmla="*/ 144131 h 600482"/>
                  <a:gd name="connsiteX54" fmla="*/ 325438 w 565150"/>
                  <a:gd name="connsiteY54" fmla="*/ 127903 h 600482"/>
                  <a:gd name="connsiteX55" fmla="*/ 325438 w 565150"/>
                  <a:gd name="connsiteY55" fmla="*/ 112413 h 600482"/>
                  <a:gd name="connsiteX56" fmla="*/ 445685 w 565150"/>
                  <a:gd name="connsiteY56" fmla="*/ 1769 h 600482"/>
                  <a:gd name="connsiteX57" fmla="*/ 121054 w 565150"/>
                  <a:gd name="connsiteY57" fmla="*/ 1769 h 600482"/>
                  <a:gd name="connsiteX58" fmla="*/ 241301 w 565150"/>
                  <a:gd name="connsiteY58" fmla="*/ 112413 h 600482"/>
                  <a:gd name="connsiteX59" fmla="*/ 241301 w 565150"/>
                  <a:gd name="connsiteY59" fmla="*/ 127903 h 600482"/>
                  <a:gd name="connsiteX60" fmla="*/ 241301 w 565150"/>
                  <a:gd name="connsiteY60" fmla="*/ 144131 h 600482"/>
                  <a:gd name="connsiteX61" fmla="*/ 241301 w 565150"/>
                  <a:gd name="connsiteY61" fmla="*/ 144869 h 600482"/>
                  <a:gd name="connsiteX62" fmla="*/ 239834 w 565150"/>
                  <a:gd name="connsiteY62" fmla="*/ 144869 h 600482"/>
                  <a:gd name="connsiteX63" fmla="*/ 232502 w 565150"/>
                  <a:gd name="connsiteY63" fmla="*/ 144131 h 600482"/>
                  <a:gd name="connsiteX64" fmla="*/ 74128 w 565150"/>
                  <a:gd name="connsiteY64" fmla="*/ 129379 h 600482"/>
                  <a:gd name="connsiteX65" fmla="*/ 70462 w 565150"/>
                  <a:gd name="connsiteY65" fmla="*/ 127903 h 600482"/>
                  <a:gd name="connsiteX66" fmla="*/ 68996 w 565150"/>
                  <a:gd name="connsiteY66" fmla="*/ 121265 h 600482"/>
                  <a:gd name="connsiteX67" fmla="*/ 112989 w 565150"/>
                  <a:gd name="connsiteY67" fmla="*/ 3982 h 600482"/>
                  <a:gd name="connsiteX68" fmla="*/ 121054 w 565150"/>
                  <a:gd name="connsiteY68" fmla="*/ 1769 h 6004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65150" h="600482">
                    <a:moveTo>
                      <a:pt x="301625" y="311557"/>
                    </a:moveTo>
                    <a:cubicBezTo>
                      <a:pt x="380471" y="311557"/>
                      <a:pt x="457857" y="311557"/>
                      <a:pt x="538163" y="311557"/>
                    </a:cubicBezTo>
                    <a:cubicBezTo>
                      <a:pt x="538163" y="316664"/>
                      <a:pt x="538163" y="321772"/>
                      <a:pt x="538163" y="326149"/>
                    </a:cubicBezTo>
                    <a:cubicBezTo>
                      <a:pt x="538163" y="401299"/>
                      <a:pt x="538163" y="475719"/>
                      <a:pt x="538163" y="550139"/>
                    </a:cubicBezTo>
                    <a:cubicBezTo>
                      <a:pt x="538163" y="584431"/>
                      <a:pt x="522102" y="600482"/>
                      <a:pt x="487789" y="600482"/>
                    </a:cubicBezTo>
                    <a:cubicBezTo>
                      <a:pt x="430845" y="600482"/>
                      <a:pt x="373901" y="600482"/>
                      <a:pt x="317686" y="600482"/>
                    </a:cubicBezTo>
                    <a:cubicBezTo>
                      <a:pt x="312576" y="600482"/>
                      <a:pt x="307466" y="600482"/>
                      <a:pt x="301625" y="599753"/>
                    </a:cubicBezTo>
                    <a:cubicBezTo>
                      <a:pt x="301625" y="503444"/>
                      <a:pt x="301625" y="408595"/>
                      <a:pt x="301625" y="311557"/>
                    </a:cubicBezTo>
                    <a:close/>
                    <a:moveTo>
                      <a:pt x="26988" y="311557"/>
                    </a:moveTo>
                    <a:cubicBezTo>
                      <a:pt x="106564" y="311557"/>
                      <a:pt x="183950" y="311557"/>
                      <a:pt x="263526" y="311557"/>
                    </a:cubicBezTo>
                    <a:cubicBezTo>
                      <a:pt x="263526" y="408595"/>
                      <a:pt x="263526" y="503444"/>
                      <a:pt x="263526" y="599753"/>
                    </a:cubicBezTo>
                    <a:cubicBezTo>
                      <a:pt x="257685" y="600482"/>
                      <a:pt x="252575" y="600482"/>
                      <a:pt x="247465" y="600482"/>
                    </a:cubicBezTo>
                    <a:cubicBezTo>
                      <a:pt x="190520" y="600482"/>
                      <a:pt x="134306" y="600482"/>
                      <a:pt x="77362" y="600482"/>
                    </a:cubicBezTo>
                    <a:cubicBezTo>
                      <a:pt x="43049" y="600482"/>
                      <a:pt x="26988" y="584431"/>
                      <a:pt x="26988" y="550139"/>
                    </a:cubicBezTo>
                    <a:cubicBezTo>
                      <a:pt x="26988" y="475719"/>
                      <a:pt x="26988" y="401299"/>
                      <a:pt x="26988" y="326149"/>
                    </a:cubicBezTo>
                    <a:cubicBezTo>
                      <a:pt x="26988" y="321772"/>
                      <a:pt x="26988" y="316664"/>
                      <a:pt x="26988" y="311557"/>
                    </a:cubicBezTo>
                    <a:close/>
                    <a:moveTo>
                      <a:pt x="301625" y="159157"/>
                    </a:moveTo>
                    <a:cubicBezTo>
                      <a:pt x="301625" y="159157"/>
                      <a:pt x="301625" y="159157"/>
                      <a:pt x="534576" y="159157"/>
                    </a:cubicBezTo>
                    <a:cubicBezTo>
                      <a:pt x="551319" y="159157"/>
                      <a:pt x="565150" y="173182"/>
                      <a:pt x="565150" y="190159"/>
                    </a:cubicBezTo>
                    <a:cubicBezTo>
                      <a:pt x="565150" y="190159"/>
                      <a:pt x="565150" y="190159"/>
                      <a:pt x="565150" y="244043"/>
                    </a:cubicBezTo>
                    <a:cubicBezTo>
                      <a:pt x="565150" y="261020"/>
                      <a:pt x="551319" y="275045"/>
                      <a:pt x="534576" y="275045"/>
                    </a:cubicBezTo>
                    <a:cubicBezTo>
                      <a:pt x="534576" y="275045"/>
                      <a:pt x="534576" y="275045"/>
                      <a:pt x="301625" y="275045"/>
                    </a:cubicBezTo>
                    <a:cubicBezTo>
                      <a:pt x="301625" y="275045"/>
                      <a:pt x="301625" y="275045"/>
                      <a:pt x="301625" y="159157"/>
                    </a:cubicBezTo>
                    <a:close/>
                    <a:moveTo>
                      <a:pt x="30659" y="159157"/>
                    </a:moveTo>
                    <a:cubicBezTo>
                      <a:pt x="30659" y="159157"/>
                      <a:pt x="30659" y="159157"/>
                      <a:pt x="263525" y="159157"/>
                    </a:cubicBezTo>
                    <a:cubicBezTo>
                      <a:pt x="263525" y="159157"/>
                      <a:pt x="263525" y="159157"/>
                      <a:pt x="263525" y="275045"/>
                    </a:cubicBezTo>
                    <a:cubicBezTo>
                      <a:pt x="263525" y="275045"/>
                      <a:pt x="263525" y="275045"/>
                      <a:pt x="30659" y="275045"/>
                    </a:cubicBezTo>
                    <a:cubicBezTo>
                      <a:pt x="13869" y="275045"/>
                      <a:pt x="0" y="261020"/>
                      <a:pt x="0" y="244043"/>
                    </a:cubicBezTo>
                    <a:cubicBezTo>
                      <a:pt x="0" y="244043"/>
                      <a:pt x="0" y="244043"/>
                      <a:pt x="0" y="190159"/>
                    </a:cubicBezTo>
                    <a:cubicBezTo>
                      <a:pt x="0" y="173182"/>
                      <a:pt x="13869" y="159157"/>
                      <a:pt x="30659" y="159157"/>
                    </a:cubicBezTo>
                    <a:close/>
                    <a:moveTo>
                      <a:pt x="263630" y="111532"/>
                    </a:moveTo>
                    <a:cubicBezTo>
                      <a:pt x="263630" y="111532"/>
                      <a:pt x="263630" y="111532"/>
                      <a:pt x="303109" y="111532"/>
                    </a:cubicBezTo>
                    <a:cubicBezTo>
                      <a:pt x="307496" y="111532"/>
                      <a:pt x="311151" y="115156"/>
                      <a:pt x="311151" y="119504"/>
                    </a:cubicBezTo>
                    <a:cubicBezTo>
                      <a:pt x="311151" y="119504"/>
                      <a:pt x="311151" y="119504"/>
                      <a:pt x="311151" y="127476"/>
                    </a:cubicBezTo>
                    <a:cubicBezTo>
                      <a:pt x="311151" y="129650"/>
                      <a:pt x="311151" y="132549"/>
                      <a:pt x="311151" y="136898"/>
                    </a:cubicBezTo>
                    <a:cubicBezTo>
                      <a:pt x="311151" y="139797"/>
                      <a:pt x="309689" y="141971"/>
                      <a:pt x="307496" y="143420"/>
                    </a:cubicBezTo>
                    <a:cubicBezTo>
                      <a:pt x="306765" y="144145"/>
                      <a:pt x="304571" y="144870"/>
                      <a:pt x="303109" y="144870"/>
                    </a:cubicBezTo>
                    <a:cubicBezTo>
                      <a:pt x="303109" y="144870"/>
                      <a:pt x="303109" y="144870"/>
                      <a:pt x="285563" y="144870"/>
                    </a:cubicBezTo>
                    <a:cubicBezTo>
                      <a:pt x="284100" y="144870"/>
                      <a:pt x="281907" y="144870"/>
                      <a:pt x="280445" y="144870"/>
                    </a:cubicBezTo>
                    <a:cubicBezTo>
                      <a:pt x="275327" y="144870"/>
                      <a:pt x="270210" y="144870"/>
                      <a:pt x="263630" y="144870"/>
                    </a:cubicBezTo>
                    <a:cubicBezTo>
                      <a:pt x="262168" y="144870"/>
                      <a:pt x="259974" y="144145"/>
                      <a:pt x="259243" y="143420"/>
                    </a:cubicBezTo>
                    <a:cubicBezTo>
                      <a:pt x="257050" y="141971"/>
                      <a:pt x="255588" y="139797"/>
                      <a:pt x="255588" y="136898"/>
                    </a:cubicBezTo>
                    <a:cubicBezTo>
                      <a:pt x="255588" y="136898"/>
                      <a:pt x="255588" y="136898"/>
                      <a:pt x="255588" y="127476"/>
                    </a:cubicBezTo>
                    <a:cubicBezTo>
                      <a:pt x="255588" y="125302"/>
                      <a:pt x="255588" y="122403"/>
                      <a:pt x="255588" y="119504"/>
                    </a:cubicBezTo>
                    <a:cubicBezTo>
                      <a:pt x="255588" y="115156"/>
                      <a:pt x="259243" y="111532"/>
                      <a:pt x="263630" y="111532"/>
                    </a:cubicBezTo>
                    <a:close/>
                    <a:moveTo>
                      <a:pt x="445685" y="1769"/>
                    </a:moveTo>
                    <a:cubicBezTo>
                      <a:pt x="448618" y="-1181"/>
                      <a:pt x="452284" y="-443"/>
                      <a:pt x="453750" y="3982"/>
                    </a:cubicBezTo>
                    <a:cubicBezTo>
                      <a:pt x="453750" y="3982"/>
                      <a:pt x="453750" y="3982"/>
                      <a:pt x="497743" y="121265"/>
                    </a:cubicBezTo>
                    <a:cubicBezTo>
                      <a:pt x="498476" y="123478"/>
                      <a:pt x="498476" y="126428"/>
                      <a:pt x="496277" y="127903"/>
                    </a:cubicBezTo>
                    <a:cubicBezTo>
                      <a:pt x="495543" y="128641"/>
                      <a:pt x="494077" y="129379"/>
                      <a:pt x="492611" y="129379"/>
                    </a:cubicBezTo>
                    <a:cubicBezTo>
                      <a:pt x="492611" y="129379"/>
                      <a:pt x="492611" y="129379"/>
                      <a:pt x="334237" y="144131"/>
                    </a:cubicBezTo>
                    <a:cubicBezTo>
                      <a:pt x="332037" y="144131"/>
                      <a:pt x="329104" y="144131"/>
                      <a:pt x="326905" y="144869"/>
                    </a:cubicBezTo>
                    <a:cubicBezTo>
                      <a:pt x="326171" y="144869"/>
                      <a:pt x="326171" y="144869"/>
                      <a:pt x="325438" y="144869"/>
                    </a:cubicBezTo>
                    <a:cubicBezTo>
                      <a:pt x="325438" y="144869"/>
                      <a:pt x="325438" y="144869"/>
                      <a:pt x="325438" y="144131"/>
                    </a:cubicBezTo>
                    <a:cubicBezTo>
                      <a:pt x="325438" y="142656"/>
                      <a:pt x="325438" y="138968"/>
                      <a:pt x="325438" y="127903"/>
                    </a:cubicBezTo>
                    <a:cubicBezTo>
                      <a:pt x="325438" y="123478"/>
                      <a:pt x="325438" y="119052"/>
                      <a:pt x="325438" y="112413"/>
                    </a:cubicBezTo>
                    <a:cubicBezTo>
                      <a:pt x="325438" y="112413"/>
                      <a:pt x="325438" y="112413"/>
                      <a:pt x="445685" y="1769"/>
                    </a:cubicBezTo>
                    <a:close/>
                    <a:moveTo>
                      <a:pt x="121054" y="1769"/>
                    </a:moveTo>
                    <a:cubicBezTo>
                      <a:pt x="241301" y="112413"/>
                      <a:pt x="241301" y="112413"/>
                      <a:pt x="241301" y="112413"/>
                    </a:cubicBezTo>
                    <a:cubicBezTo>
                      <a:pt x="241301" y="119052"/>
                      <a:pt x="241301" y="123478"/>
                      <a:pt x="241301" y="127903"/>
                    </a:cubicBezTo>
                    <a:cubicBezTo>
                      <a:pt x="241301" y="138968"/>
                      <a:pt x="241301" y="142656"/>
                      <a:pt x="241301" y="144131"/>
                    </a:cubicBezTo>
                    <a:cubicBezTo>
                      <a:pt x="241301" y="144869"/>
                      <a:pt x="241301" y="144869"/>
                      <a:pt x="241301" y="144869"/>
                    </a:cubicBezTo>
                    <a:cubicBezTo>
                      <a:pt x="240568" y="144869"/>
                      <a:pt x="240568" y="144869"/>
                      <a:pt x="239834" y="144869"/>
                    </a:cubicBezTo>
                    <a:cubicBezTo>
                      <a:pt x="237635" y="144131"/>
                      <a:pt x="234702" y="144131"/>
                      <a:pt x="232502" y="144131"/>
                    </a:cubicBezTo>
                    <a:cubicBezTo>
                      <a:pt x="74128" y="129379"/>
                      <a:pt x="74128" y="129379"/>
                      <a:pt x="74128" y="129379"/>
                    </a:cubicBezTo>
                    <a:cubicBezTo>
                      <a:pt x="72662" y="129379"/>
                      <a:pt x="71196" y="128641"/>
                      <a:pt x="70462" y="127903"/>
                    </a:cubicBezTo>
                    <a:cubicBezTo>
                      <a:pt x="68263" y="126428"/>
                      <a:pt x="68263" y="123478"/>
                      <a:pt x="68996" y="121265"/>
                    </a:cubicBezTo>
                    <a:cubicBezTo>
                      <a:pt x="112989" y="3982"/>
                      <a:pt x="112989" y="3982"/>
                      <a:pt x="112989" y="3982"/>
                    </a:cubicBezTo>
                    <a:cubicBezTo>
                      <a:pt x="114455" y="-443"/>
                      <a:pt x="118121" y="-1181"/>
                      <a:pt x="121054" y="1769"/>
                    </a:cubicBezTo>
                    <a:close/>
                  </a:path>
                </a:pathLst>
              </a:custGeom>
              <a:solidFill>
                <a:srgbClr val="4C7895"/>
              </a:solidFill>
              <a:ln>
                <a:noFill/>
              </a:ln>
            </p:spPr>
            <p:txBody>
              <a:bodyPr vert="horz" wrap="square" lIns="91440" tIns="45720" rIns="91440" bIns="45720" numCol="1" anchor="t" anchorCtr="0" compatLnSpc="1">
                <a:prstTxWarp prst="textNoShape">
                  <a:avLst/>
                </a:prstTxWarp>
                <a:noAutofit/>
              </a:bodyPr>
              <a:lstStyle/>
              <a:p>
                <a:endParaRPr lang="de-DE" dirty="0"/>
              </a:p>
            </p:txBody>
          </p:sp>
          <p:sp>
            <p:nvSpPr>
              <p:cNvPr id="229" name="Rectangle 228">
                <a:extLst>
                  <a:ext uri="{FF2B5EF4-FFF2-40B4-BE49-F238E27FC236}">
                    <a16:creationId xmlns:a16="http://schemas.microsoft.com/office/drawing/2014/main" id="{8CADB40B-AACD-4614-807B-8D2549E587E2}"/>
                  </a:ext>
                </a:extLst>
              </p:cNvPr>
              <p:cNvSpPr/>
              <p:nvPr/>
            </p:nvSpPr>
            <p:spPr bwMode="auto">
              <a:xfrm>
                <a:off x="892605" y="2260872"/>
                <a:ext cx="421597" cy="152184"/>
              </a:xfrm>
              <a:prstGeom prst="rect">
                <a:avLst/>
              </a:prstGeom>
              <a:solidFill>
                <a:srgbClr val="FFFFFF"/>
              </a:solidFill>
              <a:ln w="9525" cap="flat" cmpd="sng" algn="ctr">
                <a:solidFill>
                  <a:srgbClr val="FFFFFF"/>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buFont typeface="Arial" panose="020B0604020202020204" pitchFamily="34" charset="0"/>
                </a:pPr>
                <a:endParaRPr lang="de-DE" sz="1200" dirty="0">
                  <a:solidFill>
                    <a:schemeClr val="bg1"/>
                  </a:solidFill>
                  <a:latin typeface="+mn-lt"/>
                  <a:cs typeface="+mn-cs"/>
                </a:endParaRPr>
              </a:p>
            </p:txBody>
          </p:sp>
        </p:grpSp>
      </p:grpSp>
      <p:grpSp>
        <p:nvGrpSpPr>
          <p:cNvPr id="21" name="Group 20">
            <a:extLst>
              <a:ext uri="{FF2B5EF4-FFF2-40B4-BE49-F238E27FC236}">
                <a16:creationId xmlns:a16="http://schemas.microsoft.com/office/drawing/2014/main" id="{ADEEC9F3-0B3F-4F42-BDDC-38CAFBA93ACF}"/>
              </a:ext>
            </a:extLst>
          </p:cNvPr>
          <p:cNvGrpSpPr/>
          <p:nvPr/>
        </p:nvGrpSpPr>
        <p:grpSpPr>
          <a:xfrm>
            <a:off x="1043608" y="1378321"/>
            <a:ext cx="1506481" cy="785402"/>
            <a:chOff x="476641" y="1872759"/>
            <a:chExt cx="2089157" cy="1089180"/>
          </a:xfrm>
        </p:grpSpPr>
        <p:grpSp>
          <p:nvGrpSpPr>
            <p:cNvPr id="137" name="Group 136">
              <a:extLst>
                <a:ext uri="{FF2B5EF4-FFF2-40B4-BE49-F238E27FC236}">
                  <a16:creationId xmlns:a16="http://schemas.microsoft.com/office/drawing/2014/main" id="{655AD30C-6397-428A-A321-D2F648ACD17F}"/>
                </a:ext>
              </a:extLst>
            </p:cNvPr>
            <p:cNvGrpSpPr>
              <a:grpSpLocks noChangeAspect="1"/>
            </p:cNvGrpSpPr>
            <p:nvPr/>
          </p:nvGrpSpPr>
          <p:grpSpPr>
            <a:xfrm>
              <a:off x="611560" y="2118967"/>
              <a:ext cx="410826" cy="410430"/>
              <a:chOff x="5273675" y="2606675"/>
              <a:chExt cx="1646238" cy="1644650"/>
            </a:xfrm>
          </p:grpSpPr>
          <p:sp>
            <p:nvSpPr>
              <p:cNvPr id="138" name="AutoShape 3">
                <a:extLst>
                  <a:ext uri="{FF2B5EF4-FFF2-40B4-BE49-F238E27FC236}">
                    <a16:creationId xmlns:a16="http://schemas.microsoft.com/office/drawing/2014/main" id="{3AE0AFEC-8A42-4440-861D-C27BAB549C71}"/>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0" name="Group 139">
                <a:extLst>
                  <a:ext uri="{FF2B5EF4-FFF2-40B4-BE49-F238E27FC236}">
                    <a16:creationId xmlns:a16="http://schemas.microsoft.com/office/drawing/2014/main" id="{5DD16C3A-B90F-4E72-8EBC-8417FBE4EA15}"/>
                  </a:ext>
                </a:extLst>
              </p:cNvPr>
              <p:cNvGrpSpPr/>
              <p:nvPr/>
            </p:nvGrpSpPr>
            <p:grpSpPr>
              <a:xfrm>
                <a:off x="5346302" y="2868613"/>
                <a:ext cx="1504356" cy="1214437"/>
                <a:chOff x="5346302" y="2868613"/>
                <a:chExt cx="1504356" cy="1214437"/>
              </a:xfrm>
            </p:grpSpPr>
            <p:sp>
              <p:nvSpPr>
                <p:cNvPr id="141" name="Freeform 5">
                  <a:extLst>
                    <a:ext uri="{FF2B5EF4-FFF2-40B4-BE49-F238E27FC236}">
                      <a16:creationId xmlns:a16="http://schemas.microsoft.com/office/drawing/2014/main" id="{46295E16-08AE-4829-BB19-FF9229BDA6E4}"/>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2" name="Freeform 11">
                  <a:extLst>
                    <a:ext uri="{FF2B5EF4-FFF2-40B4-BE49-F238E27FC236}">
                      <a16:creationId xmlns:a16="http://schemas.microsoft.com/office/drawing/2014/main" id="{AEAFA5D9-8105-48A8-870B-A5691260AA36}"/>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143" name="Group 142">
              <a:extLst>
                <a:ext uri="{FF2B5EF4-FFF2-40B4-BE49-F238E27FC236}">
                  <a16:creationId xmlns:a16="http://schemas.microsoft.com/office/drawing/2014/main" id="{8614F3DA-3A61-4EE6-832C-154FC03603CB}"/>
                </a:ext>
              </a:extLst>
            </p:cNvPr>
            <p:cNvGrpSpPr>
              <a:grpSpLocks noChangeAspect="1"/>
            </p:cNvGrpSpPr>
            <p:nvPr/>
          </p:nvGrpSpPr>
          <p:grpSpPr>
            <a:xfrm>
              <a:off x="1150875" y="1872759"/>
              <a:ext cx="410826" cy="410430"/>
              <a:chOff x="5273675" y="2606675"/>
              <a:chExt cx="1646238" cy="1644650"/>
            </a:xfrm>
          </p:grpSpPr>
          <p:sp>
            <p:nvSpPr>
              <p:cNvPr id="144" name="AutoShape 3">
                <a:extLst>
                  <a:ext uri="{FF2B5EF4-FFF2-40B4-BE49-F238E27FC236}">
                    <a16:creationId xmlns:a16="http://schemas.microsoft.com/office/drawing/2014/main" id="{1DDA00C7-2D0A-4206-8873-793B97A209B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45" name="Group 144">
                <a:extLst>
                  <a:ext uri="{FF2B5EF4-FFF2-40B4-BE49-F238E27FC236}">
                    <a16:creationId xmlns:a16="http://schemas.microsoft.com/office/drawing/2014/main" id="{1F01A928-FAC8-4F3D-85DF-27D5734C8F84}"/>
                  </a:ext>
                </a:extLst>
              </p:cNvPr>
              <p:cNvGrpSpPr/>
              <p:nvPr/>
            </p:nvGrpSpPr>
            <p:grpSpPr>
              <a:xfrm>
                <a:off x="5346302" y="2868613"/>
                <a:ext cx="1504356" cy="1214437"/>
                <a:chOff x="5346302" y="2868613"/>
                <a:chExt cx="1504356" cy="1214437"/>
              </a:xfrm>
            </p:grpSpPr>
            <p:sp>
              <p:nvSpPr>
                <p:cNvPr id="146" name="Freeform 5">
                  <a:extLst>
                    <a:ext uri="{FF2B5EF4-FFF2-40B4-BE49-F238E27FC236}">
                      <a16:creationId xmlns:a16="http://schemas.microsoft.com/office/drawing/2014/main" id="{3D097A6E-C9C9-491C-A1AB-F8C005791BA7}"/>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47" name="Freeform 11">
                  <a:extLst>
                    <a:ext uri="{FF2B5EF4-FFF2-40B4-BE49-F238E27FC236}">
                      <a16:creationId xmlns:a16="http://schemas.microsoft.com/office/drawing/2014/main" id="{F5AB19C5-E654-48A1-80F4-E5D975CF988A}"/>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148" name="Group 147">
              <a:extLst>
                <a:ext uri="{FF2B5EF4-FFF2-40B4-BE49-F238E27FC236}">
                  <a16:creationId xmlns:a16="http://schemas.microsoft.com/office/drawing/2014/main" id="{185576B0-17AE-4FB1-A980-EE73C8F2803B}"/>
                </a:ext>
              </a:extLst>
            </p:cNvPr>
            <p:cNvGrpSpPr>
              <a:grpSpLocks noChangeAspect="1"/>
            </p:cNvGrpSpPr>
            <p:nvPr/>
          </p:nvGrpSpPr>
          <p:grpSpPr>
            <a:xfrm>
              <a:off x="1798363" y="1978129"/>
              <a:ext cx="410826" cy="410430"/>
              <a:chOff x="5273675" y="2606675"/>
              <a:chExt cx="1646238" cy="1644650"/>
            </a:xfrm>
          </p:grpSpPr>
          <p:sp>
            <p:nvSpPr>
              <p:cNvPr id="149" name="AutoShape 3">
                <a:extLst>
                  <a:ext uri="{FF2B5EF4-FFF2-40B4-BE49-F238E27FC236}">
                    <a16:creationId xmlns:a16="http://schemas.microsoft.com/office/drawing/2014/main" id="{78462A51-91B9-457F-842C-E70BB6D7F48B}"/>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0" name="Group 149">
                <a:extLst>
                  <a:ext uri="{FF2B5EF4-FFF2-40B4-BE49-F238E27FC236}">
                    <a16:creationId xmlns:a16="http://schemas.microsoft.com/office/drawing/2014/main" id="{D8A37691-EECF-417C-A29C-54E0BD46FE20}"/>
                  </a:ext>
                </a:extLst>
              </p:cNvPr>
              <p:cNvGrpSpPr/>
              <p:nvPr/>
            </p:nvGrpSpPr>
            <p:grpSpPr>
              <a:xfrm>
                <a:off x="5346302" y="2868613"/>
                <a:ext cx="1504356" cy="1214437"/>
                <a:chOff x="5346302" y="2868613"/>
                <a:chExt cx="1504356" cy="1214437"/>
              </a:xfrm>
            </p:grpSpPr>
            <p:sp>
              <p:nvSpPr>
                <p:cNvPr id="151" name="Freeform 5">
                  <a:extLst>
                    <a:ext uri="{FF2B5EF4-FFF2-40B4-BE49-F238E27FC236}">
                      <a16:creationId xmlns:a16="http://schemas.microsoft.com/office/drawing/2014/main" id="{0BB2AC78-E9C6-4C72-BFA8-BA9EE0142EBC}"/>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52" name="Freeform 11">
                  <a:extLst>
                    <a:ext uri="{FF2B5EF4-FFF2-40B4-BE49-F238E27FC236}">
                      <a16:creationId xmlns:a16="http://schemas.microsoft.com/office/drawing/2014/main" id="{C2F26503-AC87-49E6-BBB0-9875DC4202A1}"/>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153" name="Group 152">
              <a:extLst>
                <a:ext uri="{FF2B5EF4-FFF2-40B4-BE49-F238E27FC236}">
                  <a16:creationId xmlns:a16="http://schemas.microsoft.com/office/drawing/2014/main" id="{9A9368A1-5D90-407D-8D47-0D2165E94241}"/>
                </a:ext>
              </a:extLst>
            </p:cNvPr>
            <p:cNvGrpSpPr>
              <a:grpSpLocks noChangeAspect="1"/>
            </p:cNvGrpSpPr>
            <p:nvPr/>
          </p:nvGrpSpPr>
          <p:grpSpPr>
            <a:xfrm>
              <a:off x="2154972" y="2365220"/>
              <a:ext cx="410826" cy="410430"/>
              <a:chOff x="5273675" y="2606675"/>
              <a:chExt cx="1646238" cy="1644650"/>
            </a:xfrm>
          </p:grpSpPr>
          <p:sp>
            <p:nvSpPr>
              <p:cNvPr id="154" name="AutoShape 3">
                <a:extLst>
                  <a:ext uri="{FF2B5EF4-FFF2-40B4-BE49-F238E27FC236}">
                    <a16:creationId xmlns:a16="http://schemas.microsoft.com/office/drawing/2014/main" id="{7BC52C05-2BF5-4250-9012-050AEC031092}"/>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55" name="Group 154">
                <a:extLst>
                  <a:ext uri="{FF2B5EF4-FFF2-40B4-BE49-F238E27FC236}">
                    <a16:creationId xmlns:a16="http://schemas.microsoft.com/office/drawing/2014/main" id="{8A4241D9-E0B7-45A4-9524-C6156D3A6988}"/>
                  </a:ext>
                </a:extLst>
              </p:cNvPr>
              <p:cNvGrpSpPr/>
              <p:nvPr/>
            </p:nvGrpSpPr>
            <p:grpSpPr>
              <a:xfrm>
                <a:off x="5346302" y="2868613"/>
                <a:ext cx="1504356" cy="1214437"/>
                <a:chOff x="5346302" y="2868613"/>
                <a:chExt cx="1504356" cy="1214437"/>
              </a:xfrm>
            </p:grpSpPr>
            <p:sp>
              <p:nvSpPr>
                <p:cNvPr id="156" name="Freeform 5">
                  <a:extLst>
                    <a:ext uri="{FF2B5EF4-FFF2-40B4-BE49-F238E27FC236}">
                      <a16:creationId xmlns:a16="http://schemas.microsoft.com/office/drawing/2014/main" id="{5A5C2C73-7EA3-4FE1-93F2-0FC35DF0009B}"/>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57" name="Freeform 11">
                  <a:extLst>
                    <a:ext uri="{FF2B5EF4-FFF2-40B4-BE49-F238E27FC236}">
                      <a16:creationId xmlns:a16="http://schemas.microsoft.com/office/drawing/2014/main" id="{985C11B9-DC32-4A87-8212-6146F909D5E5}"/>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158" name="Group 157">
              <a:extLst>
                <a:ext uri="{FF2B5EF4-FFF2-40B4-BE49-F238E27FC236}">
                  <a16:creationId xmlns:a16="http://schemas.microsoft.com/office/drawing/2014/main" id="{073CB809-9D9E-4F3A-80D9-F1973328F20A}"/>
                </a:ext>
              </a:extLst>
            </p:cNvPr>
            <p:cNvGrpSpPr>
              <a:grpSpLocks noChangeAspect="1"/>
            </p:cNvGrpSpPr>
            <p:nvPr/>
          </p:nvGrpSpPr>
          <p:grpSpPr>
            <a:xfrm>
              <a:off x="1402693" y="2248513"/>
              <a:ext cx="410826" cy="410430"/>
              <a:chOff x="5273675" y="2606675"/>
              <a:chExt cx="1646238" cy="1644650"/>
            </a:xfrm>
          </p:grpSpPr>
          <p:sp>
            <p:nvSpPr>
              <p:cNvPr id="159" name="AutoShape 3">
                <a:extLst>
                  <a:ext uri="{FF2B5EF4-FFF2-40B4-BE49-F238E27FC236}">
                    <a16:creationId xmlns:a16="http://schemas.microsoft.com/office/drawing/2014/main" id="{42DB83AE-83B2-4455-B5AF-176D40FC2905}"/>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60" name="Group 159">
                <a:extLst>
                  <a:ext uri="{FF2B5EF4-FFF2-40B4-BE49-F238E27FC236}">
                    <a16:creationId xmlns:a16="http://schemas.microsoft.com/office/drawing/2014/main" id="{0A9F7A66-FB42-44E5-8D59-2B4D227D5F56}"/>
                  </a:ext>
                </a:extLst>
              </p:cNvPr>
              <p:cNvGrpSpPr/>
              <p:nvPr/>
            </p:nvGrpSpPr>
            <p:grpSpPr>
              <a:xfrm>
                <a:off x="5346302" y="2868613"/>
                <a:ext cx="1504356" cy="1214437"/>
                <a:chOff x="5346302" y="2868613"/>
                <a:chExt cx="1504356" cy="1214437"/>
              </a:xfrm>
            </p:grpSpPr>
            <p:sp>
              <p:nvSpPr>
                <p:cNvPr id="161" name="Freeform 5">
                  <a:extLst>
                    <a:ext uri="{FF2B5EF4-FFF2-40B4-BE49-F238E27FC236}">
                      <a16:creationId xmlns:a16="http://schemas.microsoft.com/office/drawing/2014/main" id="{B316BFB5-12CD-427C-8A9E-46EC92A93FDA}"/>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62" name="Freeform 11">
                  <a:extLst>
                    <a:ext uri="{FF2B5EF4-FFF2-40B4-BE49-F238E27FC236}">
                      <a16:creationId xmlns:a16="http://schemas.microsoft.com/office/drawing/2014/main" id="{753B263B-7CD4-4C98-8456-62EB5A961E39}"/>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163" name="Group 162">
              <a:extLst>
                <a:ext uri="{FF2B5EF4-FFF2-40B4-BE49-F238E27FC236}">
                  <a16:creationId xmlns:a16="http://schemas.microsoft.com/office/drawing/2014/main" id="{DA0A55B3-63C1-46B6-AEAA-A47FDEEAB550}"/>
                </a:ext>
              </a:extLst>
            </p:cNvPr>
            <p:cNvGrpSpPr>
              <a:grpSpLocks noChangeAspect="1"/>
            </p:cNvGrpSpPr>
            <p:nvPr/>
          </p:nvGrpSpPr>
          <p:grpSpPr>
            <a:xfrm>
              <a:off x="959407" y="2422381"/>
              <a:ext cx="410826" cy="410430"/>
              <a:chOff x="5273675" y="2606675"/>
              <a:chExt cx="1646238" cy="1644650"/>
            </a:xfrm>
          </p:grpSpPr>
          <p:sp>
            <p:nvSpPr>
              <p:cNvPr id="164" name="AutoShape 3">
                <a:extLst>
                  <a:ext uri="{FF2B5EF4-FFF2-40B4-BE49-F238E27FC236}">
                    <a16:creationId xmlns:a16="http://schemas.microsoft.com/office/drawing/2014/main" id="{42B2904F-3B5E-4C19-97AD-BF8DAA63E91E}"/>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65" name="Group 164">
                <a:extLst>
                  <a:ext uri="{FF2B5EF4-FFF2-40B4-BE49-F238E27FC236}">
                    <a16:creationId xmlns:a16="http://schemas.microsoft.com/office/drawing/2014/main" id="{197CD3B0-4EC2-4A3B-BA20-EEFCFB9E09A1}"/>
                  </a:ext>
                </a:extLst>
              </p:cNvPr>
              <p:cNvGrpSpPr/>
              <p:nvPr/>
            </p:nvGrpSpPr>
            <p:grpSpPr>
              <a:xfrm>
                <a:off x="5346302" y="2868613"/>
                <a:ext cx="1504356" cy="1214437"/>
                <a:chOff x="5346302" y="2868613"/>
                <a:chExt cx="1504356" cy="1214437"/>
              </a:xfrm>
            </p:grpSpPr>
            <p:sp>
              <p:nvSpPr>
                <p:cNvPr id="166" name="Freeform 5">
                  <a:extLst>
                    <a:ext uri="{FF2B5EF4-FFF2-40B4-BE49-F238E27FC236}">
                      <a16:creationId xmlns:a16="http://schemas.microsoft.com/office/drawing/2014/main" id="{43109881-0589-4D6D-B1FC-8E0D998EDC85}"/>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67" name="Freeform 11">
                  <a:extLst>
                    <a:ext uri="{FF2B5EF4-FFF2-40B4-BE49-F238E27FC236}">
                      <a16:creationId xmlns:a16="http://schemas.microsoft.com/office/drawing/2014/main" id="{1B8D1F09-1296-4512-8621-7040D9CF9AE3}"/>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168" name="Group 167">
              <a:extLst>
                <a:ext uri="{FF2B5EF4-FFF2-40B4-BE49-F238E27FC236}">
                  <a16:creationId xmlns:a16="http://schemas.microsoft.com/office/drawing/2014/main" id="{29CAB690-D6D9-48B1-8385-7487D732DD3E}"/>
                </a:ext>
              </a:extLst>
            </p:cNvPr>
            <p:cNvGrpSpPr>
              <a:grpSpLocks noChangeAspect="1"/>
            </p:cNvGrpSpPr>
            <p:nvPr/>
          </p:nvGrpSpPr>
          <p:grpSpPr>
            <a:xfrm>
              <a:off x="1711037" y="2551509"/>
              <a:ext cx="410826" cy="410430"/>
              <a:chOff x="5273675" y="2606675"/>
              <a:chExt cx="1646238" cy="1644650"/>
            </a:xfrm>
          </p:grpSpPr>
          <p:sp>
            <p:nvSpPr>
              <p:cNvPr id="169" name="AutoShape 3">
                <a:extLst>
                  <a:ext uri="{FF2B5EF4-FFF2-40B4-BE49-F238E27FC236}">
                    <a16:creationId xmlns:a16="http://schemas.microsoft.com/office/drawing/2014/main" id="{50E7732C-FB0D-43B0-B4DC-FEC112826739}"/>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0" name="Group 169">
                <a:extLst>
                  <a:ext uri="{FF2B5EF4-FFF2-40B4-BE49-F238E27FC236}">
                    <a16:creationId xmlns:a16="http://schemas.microsoft.com/office/drawing/2014/main" id="{6A7FDAF3-4B06-4613-871A-264F83FEAA46}"/>
                  </a:ext>
                </a:extLst>
              </p:cNvPr>
              <p:cNvGrpSpPr/>
              <p:nvPr/>
            </p:nvGrpSpPr>
            <p:grpSpPr>
              <a:xfrm>
                <a:off x="5346302" y="2868613"/>
                <a:ext cx="1504356" cy="1214437"/>
                <a:chOff x="5346302" y="2868613"/>
                <a:chExt cx="1504356" cy="1214437"/>
              </a:xfrm>
            </p:grpSpPr>
            <p:sp>
              <p:nvSpPr>
                <p:cNvPr id="171" name="Freeform 5">
                  <a:extLst>
                    <a:ext uri="{FF2B5EF4-FFF2-40B4-BE49-F238E27FC236}">
                      <a16:creationId xmlns:a16="http://schemas.microsoft.com/office/drawing/2014/main" id="{75110547-9ADF-41F7-A0A2-77D9ECFFA50A}"/>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72" name="Freeform 11">
                  <a:extLst>
                    <a:ext uri="{FF2B5EF4-FFF2-40B4-BE49-F238E27FC236}">
                      <a16:creationId xmlns:a16="http://schemas.microsoft.com/office/drawing/2014/main" id="{C72BB0ED-EE0C-4E69-9048-F8F1290D2308}"/>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nvGrpSpPr>
            <p:cNvPr id="173" name="Group 172">
              <a:extLst>
                <a:ext uri="{FF2B5EF4-FFF2-40B4-BE49-F238E27FC236}">
                  <a16:creationId xmlns:a16="http://schemas.microsoft.com/office/drawing/2014/main" id="{A88C917B-00DD-4E85-BBBC-CEDB4AC9C3D7}"/>
                </a:ext>
              </a:extLst>
            </p:cNvPr>
            <p:cNvGrpSpPr>
              <a:grpSpLocks noChangeAspect="1"/>
            </p:cNvGrpSpPr>
            <p:nvPr/>
          </p:nvGrpSpPr>
          <p:grpSpPr>
            <a:xfrm>
              <a:off x="476641" y="2520606"/>
              <a:ext cx="410826" cy="410430"/>
              <a:chOff x="5273675" y="2606675"/>
              <a:chExt cx="1646238" cy="1644650"/>
            </a:xfrm>
          </p:grpSpPr>
          <p:sp>
            <p:nvSpPr>
              <p:cNvPr id="174" name="AutoShape 3">
                <a:extLst>
                  <a:ext uri="{FF2B5EF4-FFF2-40B4-BE49-F238E27FC236}">
                    <a16:creationId xmlns:a16="http://schemas.microsoft.com/office/drawing/2014/main" id="{789393B7-A6D8-47CE-BDAD-EA30CA4184F0}"/>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nvGrpSpPr>
              <p:cNvPr id="175" name="Group 174">
                <a:extLst>
                  <a:ext uri="{FF2B5EF4-FFF2-40B4-BE49-F238E27FC236}">
                    <a16:creationId xmlns:a16="http://schemas.microsoft.com/office/drawing/2014/main" id="{904DCFC3-0079-4793-AFD8-9F6E85CD5AEF}"/>
                  </a:ext>
                </a:extLst>
              </p:cNvPr>
              <p:cNvGrpSpPr/>
              <p:nvPr/>
            </p:nvGrpSpPr>
            <p:grpSpPr>
              <a:xfrm>
                <a:off x="5346302" y="2868613"/>
                <a:ext cx="1504356" cy="1214437"/>
                <a:chOff x="5346302" y="2868613"/>
                <a:chExt cx="1504356" cy="1214437"/>
              </a:xfrm>
            </p:grpSpPr>
            <p:sp>
              <p:nvSpPr>
                <p:cNvPr id="176" name="Freeform 5">
                  <a:extLst>
                    <a:ext uri="{FF2B5EF4-FFF2-40B4-BE49-F238E27FC236}">
                      <a16:creationId xmlns:a16="http://schemas.microsoft.com/office/drawing/2014/main" id="{16A1AC86-2755-4101-913A-6D73C78998A9}"/>
                    </a:ext>
                  </a:extLst>
                </p:cNvPr>
                <p:cNvSpPr>
                  <a:spLocks noEditPoints="1"/>
                </p:cNvSpPr>
                <p:nvPr/>
              </p:nvSpPr>
              <p:spPr bwMode="auto">
                <a:xfrm>
                  <a:off x="5384800" y="3114675"/>
                  <a:ext cx="1427163" cy="968375"/>
                </a:xfrm>
                <a:custGeom>
                  <a:avLst/>
                  <a:gdLst>
                    <a:gd name="T0" fmla="*/ 437 w 2001"/>
                    <a:gd name="T1" fmla="*/ 1181 h 1356"/>
                    <a:gd name="T2" fmla="*/ 1563 w 2001"/>
                    <a:gd name="T3" fmla="*/ 1181 h 1356"/>
                    <a:gd name="T4" fmla="*/ 1584 w 2001"/>
                    <a:gd name="T5" fmla="*/ 1202 h 1356"/>
                    <a:gd name="T6" fmla="*/ 1584 w 2001"/>
                    <a:gd name="T7" fmla="*/ 1231 h 1356"/>
                    <a:gd name="T8" fmla="*/ 1647 w 2001"/>
                    <a:gd name="T9" fmla="*/ 1231 h 1356"/>
                    <a:gd name="T10" fmla="*/ 1669 w 2001"/>
                    <a:gd name="T11" fmla="*/ 1253 h 1356"/>
                    <a:gd name="T12" fmla="*/ 1669 w 2001"/>
                    <a:gd name="T13" fmla="*/ 1335 h 1356"/>
                    <a:gd name="T14" fmla="*/ 1647 w 2001"/>
                    <a:gd name="T15" fmla="*/ 1356 h 1356"/>
                    <a:gd name="T16" fmla="*/ 353 w 2001"/>
                    <a:gd name="T17" fmla="*/ 1356 h 1356"/>
                    <a:gd name="T18" fmla="*/ 331 w 2001"/>
                    <a:gd name="T19" fmla="*/ 1335 h 1356"/>
                    <a:gd name="T20" fmla="*/ 331 w 2001"/>
                    <a:gd name="T21" fmla="*/ 1253 h 1356"/>
                    <a:gd name="T22" fmla="*/ 353 w 2001"/>
                    <a:gd name="T23" fmla="*/ 1231 h 1356"/>
                    <a:gd name="T24" fmla="*/ 416 w 2001"/>
                    <a:gd name="T25" fmla="*/ 1231 h 1356"/>
                    <a:gd name="T26" fmla="*/ 416 w 2001"/>
                    <a:gd name="T27" fmla="*/ 1202 h 1356"/>
                    <a:gd name="T28" fmla="*/ 437 w 2001"/>
                    <a:gd name="T29" fmla="*/ 1181 h 1356"/>
                    <a:gd name="T30" fmla="*/ 1956 w 2001"/>
                    <a:gd name="T31" fmla="*/ 442 h 1356"/>
                    <a:gd name="T32" fmla="*/ 2001 w 2001"/>
                    <a:gd name="T33" fmla="*/ 442 h 1356"/>
                    <a:gd name="T34" fmla="*/ 2001 w 2001"/>
                    <a:gd name="T35" fmla="*/ 985 h 1356"/>
                    <a:gd name="T36" fmla="*/ 1979 w 2001"/>
                    <a:gd name="T37" fmla="*/ 1007 h 1356"/>
                    <a:gd name="T38" fmla="*/ 1600 w 2001"/>
                    <a:gd name="T39" fmla="*/ 1007 h 1356"/>
                    <a:gd name="T40" fmla="*/ 1600 w 2001"/>
                    <a:gd name="T41" fmla="*/ 963 h 1356"/>
                    <a:gd name="T42" fmla="*/ 1956 w 2001"/>
                    <a:gd name="T43" fmla="*/ 963 h 1356"/>
                    <a:gd name="T44" fmla="*/ 1956 w 2001"/>
                    <a:gd name="T45" fmla="*/ 442 h 1356"/>
                    <a:gd name="T46" fmla="*/ 0 w 2001"/>
                    <a:gd name="T47" fmla="*/ 442 h 1356"/>
                    <a:gd name="T48" fmla="*/ 44 w 2001"/>
                    <a:gd name="T49" fmla="*/ 442 h 1356"/>
                    <a:gd name="T50" fmla="*/ 44 w 2001"/>
                    <a:gd name="T51" fmla="*/ 963 h 1356"/>
                    <a:gd name="T52" fmla="*/ 400 w 2001"/>
                    <a:gd name="T53" fmla="*/ 963 h 1356"/>
                    <a:gd name="T54" fmla="*/ 400 w 2001"/>
                    <a:gd name="T55" fmla="*/ 1007 h 1356"/>
                    <a:gd name="T56" fmla="*/ 22 w 2001"/>
                    <a:gd name="T57" fmla="*/ 1007 h 1356"/>
                    <a:gd name="T58" fmla="*/ 0 w 2001"/>
                    <a:gd name="T59" fmla="*/ 985 h 1356"/>
                    <a:gd name="T60" fmla="*/ 0 w 2001"/>
                    <a:gd name="T61" fmla="*/ 442 h 1356"/>
                    <a:gd name="T62" fmla="*/ 987 w 2001"/>
                    <a:gd name="T63" fmla="*/ 6 h 1356"/>
                    <a:gd name="T64" fmla="*/ 1013 w 2001"/>
                    <a:gd name="T65" fmla="*/ 6 h 1356"/>
                    <a:gd name="T66" fmla="*/ 1183 w 2001"/>
                    <a:gd name="T67" fmla="*/ 138 h 1356"/>
                    <a:gd name="T68" fmla="*/ 1528 w 2001"/>
                    <a:gd name="T69" fmla="*/ 406 h 1356"/>
                    <a:gd name="T70" fmla="*/ 1547 w 2001"/>
                    <a:gd name="T71" fmla="*/ 421 h 1356"/>
                    <a:gd name="T72" fmla="*/ 1556 w 2001"/>
                    <a:gd name="T73" fmla="*/ 438 h 1356"/>
                    <a:gd name="T74" fmla="*/ 1556 w 2001"/>
                    <a:gd name="T75" fmla="*/ 964 h 1356"/>
                    <a:gd name="T76" fmla="*/ 1556 w 2001"/>
                    <a:gd name="T77" fmla="*/ 1008 h 1356"/>
                    <a:gd name="T78" fmla="*/ 1556 w 2001"/>
                    <a:gd name="T79" fmla="*/ 1134 h 1356"/>
                    <a:gd name="T80" fmla="*/ 1512 w 2001"/>
                    <a:gd name="T81" fmla="*/ 1134 h 1356"/>
                    <a:gd name="T82" fmla="*/ 1512 w 2001"/>
                    <a:gd name="T83" fmla="*/ 1008 h 1356"/>
                    <a:gd name="T84" fmla="*/ 1512 w 2001"/>
                    <a:gd name="T85" fmla="*/ 964 h 1356"/>
                    <a:gd name="T86" fmla="*/ 1512 w 2001"/>
                    <a:gd name="T87" fmla="*/ 449 h 1356"/>
                    <a:gd name="T88" fmla="*/ 1456 w 2001"/>
                    <a:gd name="T89" fmla="*/ 406 h 1356"/>
                    <a:gd name="T90" fmla="*/ 1111 w 2001"/>
                    <a:gd name="T91" fmla="*/ 138 h 1356"/>
                    <a:gd name="T92" fmla="*/ 1000 w 2001"/>
                    <a:gd name="T93" fmla="*/ 51 h 1356"/>
                    <a:gd name="T94" fmla="*/ 889 w 2001"/>
                    <a:gd name="T95" fmla="*/ 138 h 1356"/>
                    <a:gd name="T96" fmla="*/ 544 w 2001"/>
                    <a:gd name="T97" fmla="*/ 406 h 1356"/>
                    <a:gd name="T98" fmla="*/ 488 w 2001"/>
                    <a:gd name="T99" fmla="*/ 449 h 1356"/>
                    <a:gd name="T100" fmla="*/ 488 w 2001"/>
                    <a:gd name="T101" fmla="*/ 964 h 1356"/>
                    <a:gd name="T102" fmla="*/ 488 w 2001"/>
                    <a:gd name="T103" fmla="*/ 1008 h 1356"/>
                    <a:gd name="T104" fmla="*/ 488 w 2001"/>
                    <a:gd name="T105" fmla="*/ 1134 h 1356"/>
                    <a:gd name="T106" fmla="*/ 444 w 2001"/>
                    <a:gd name="T107" fmla="*/ 1134 h 1356"/>
                    <a:gd name="T108" fmla="*/ 444 w 2001"/>
                    <a:gd name="T109" fmla="*/ 1008 h 1356"/>
                    <a:gd name="T110" fmla="*/ 444 w 2001"/>
                    <a:gd name="T111" fmla="*/ 964 h 1356"/>
                    <a:gd name="T112" fmla="*/ 444 w 2001"/>
                    <a:gd name="T113" fmla="*/ 438 h 1356"/>
                    <a:gd name="T114" fmla="*/ 453 w 2001"/>
                    <a:gd name="T115" fmla="*/ 421 h 1356"/>
                    <a:gd name="T116" fmla="*/ 472 w 2001"/>
                    <a:gd name="T117" fmla="*/ 406 h 1356"/>
                    <a:gd name="T118" fmla="*/ 817 w 2001"/>
                    <a:gd name="T119" fmla="*/ 138 h 1356"/>
                    <a:gd name="T120" fmla="*/ 987 w 2001"/>
                    <a:gd name="T121" fmla="*/ 6 h 1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001" h="1356">
                      <a:moveTo>
                        <a:pt x="437" y="1181"/>
                      </a:moveTo>
                      <a:cubicBezTo>
                        <a:pt x="437" y="1181"/>
                        <a:pt x="437" y="1181"/>
                        <a:pt x="1563" y="1181"/>
                      </a:cubicBezTo>
                      <a:cubicBezTo>
                        <a:pt x="1574" y="1181"/>
                        <a:pt x="1584" y="1190"/>
                        <a:pt x="1584" y="1202"/>
                      </a:cubicBezTo>
                      <a:cubicBezTo>
                        <a:pt x="1584" y="1202"/>
                        <a:pt x="1584" y="1202"/>
                        <a:pt x="1584" y="1231"/>
                      </a:cubicBezTo>
                      <a:cubicBezTo>
                        <a:pt x="1584" y="1231"/>
                        <a:pt x="1584" y="1231"/>
                        <a:pt x="1647" y="1231"/>
                      </a:cubicBezTo>
                      <a:cubicBezTo>
                        <a:pt x="1659" y="1231"/>
                        <a:pt x="1669" y="1241"/>
                        <a:pt x="1669" y="1253"/>
                      </a:cubicBezTo>
                      <a:cubicBezTo>
                        <a:pt x="1669" y="1253"/>
                        <a:pt x="1669" y="1253"/>
                        <a:pt x="1669" y="1335"/>
                      </a:cubicBezTo>
                      <a:cubicBezTo>
                        <a:pt x="1669" y="1347"/>
                        <a:pt x="1659" y="1356"/>
                        <a:pt x="1647" y="1356"/>
                      </a:cubicBezTo>
                      <a:cubicBezTo>
                        <a:pt x="1647" y="1356"/>
                        <a:pt x="1647" y="1356"/>
                        <a:pt x="353" y="1356"/>
                      </a:cubicBezTo>
                      <a:cubicBezTo>
                        <a:pt x="341" y="1356"/>
                        <a:pt x="331" y="1347"/>
                        <a:pt x="331" y="1335"/>
                      </a:cubicBezTo>
                      <a:cubicBezTo>
                        <a:pt x="331" y="1335"/>
                        <a:pt x="331" y="1335"/>
                        <a:pt x="331" y="1253"/>
                      </a:cubicBezTo>
                      <a:cubicBezTo>
                        <a:pt x="331" y="1241"/>
                        <a:pt x="341" y="1231"/>
                        <a:pt x="353" y="1231"/>
                      </a:cubicBezTo>
                      <a:cubicBezTo>
                        <a:pt x="353" y="1231"/>
                        <a:pt x="353" y="1231"/>
                        <a:pt x="416" y="1231"/>
                      </a:cubicBezTo>
                      <a:cubicBezTo>
                        <a:pt x="416" y="1231"/>
                        <a:pt x="416" y="1231"/>
                        <a:pt x="416" y="1202"/>
                      </a:cubicBezTo>
                      <a:cubicBezTo>
                        <a:pt x="416" y="1190"/>
                        <a:pt x="426" y="1181"/>
                        <a:pt x="437" y="1181"/>
                      </a:cubicBezTo>
                      <a:close/>
                      <a:moveTo>
                        <a:pt x="1956" y="442"/>
                      </a:moveTo>
                      <a:cubicBezTo>
                        <a:pt x="2001" y="442"/>
                        <a:pt x="2001" y="442"/>
                        <a:pt x="2001" y="442"/>
                      </a:cubicBezTo>
                      <a:cubicBezTo>
                        <a:pt x="2001" y="442"/>
                        <a:pt x="2001" y="442"/>
                        <a:pt x="2001" y="985"/>
                      </a:cubicBezTo>
                      <a:cubicBezTo>
                        <a:pt x="2001" y="997"/>
                        <a:pt x="1992" y="1007"/>
                        <a:pt x="1979" y="1007"/>
                      </a:cubicBezTo>
                      <a:cubicBezTo>
                        <a:pt x="1979" y="1007"/>
                        <a:pt x="1979" y="1007"/>
                        <a:pt x="1600" y="1007"/>
                      </a:cubicBezTo>
                      <a:cubicBezTo>
                        <a:pt x="1600" y="1007"/>
                        <a:pt x="1600" y="1007"/>
                        <a:pt x="1600" y="963"/>
                      </a:cubicBezTo>
                      <a:cubicBezTo>
                        <a:pt x="1600" y="963"/>
                        <a:pt x="1600" y="963"/>
                        <a:pt x="1956" y="963"/>
                      </a:cubicBezTo>
                      <a:cubicBezTo>
                        <a:pt x="1956" y="963"/>
                        <a:pt x="1956" y="963"/>
                        <a:pt x="1956" y="442"/>
                      </a:cubicBezTo>
                      <a:close/>
                      <a:moveTo>
                        <a:pt x="0" y="442"/>
                      </a:moveTo>
                      <a:cubicBezTo>
                        <a:pt x="0" y="442"/>
                        <a:pt x="0" y="442"/>
                        <a:pt x="44" y="442"/>
                      </a:cubicBezTo>
                      <a:cubicBezTo>
                        <a:pt x="44" y="442"/>
                        <a:pt x="44" y="442"/>
                        <a:pt x="44" y="963"/>
                      </a:cubicBezTo>
                      <a:cubicBezTo>
                        <a:pt x="44" y="963"/>
                        <a:pt x="44" y="963"/>
                        <a:pt x="400" y="963"/>
                      </a:cubicBezTo>
                      <a:cubicBezTo>
                        <a:pt x="400" y="1007"/>
                        <a:pt x="400" y="1007"/>
                        <a:pt x="400" y="1007"/>
                      </a:cubicBezTo>
                      <a:cubicBezTo>
                        <a:pt x="400" y="1007"/>
                        <a:pt x="400" y="1007"/>
                        <a:pt x="22" y="1007"/>
                      </a:cubicBezTo>
                      <a:cubicBezTo>
                        <a:pt x="9" y="1007"/>
                        <a:pt x="0" y="997"/>
                        <a:pt x="0" y="985"/>
                      </a:cubicBezTo>
                      <a:cubicBezTo>
                        <a:pt x="0" y="985"/>
                        <a:pt x="0" y="985"/>
                        <a:pt x="0" y="442"/>
                      </a:cubicBezTo>
                      <a:close/>
                      <a:moveTo>
                        <a:pt x="987" y="6"/>
                      </a:moveTo>
                      <a:cubicBezTo>
                        <a:pt x="994" y="0"/>
                        <a:pt x="1006" y="0"/>
                        <a:pt x="1013" y="6"/>
                      </a:cubicBezTo>
                      <a:cubicBezTo>
                        <a:pt x="1013" y="6"/>
                        <a:pt x="1013" y="6"/>
                        <a:pt x="1183" y="138"/>
                      </a:cubicBezTo>
                      <a:cubicBezTo>
                        <a:pt x="1183" y="138"/>
                        <a:pt x="1183" y="138"/>
                        <a:pt x="1528" y="406"/>
                      </a:cubicBezTo>
                      <a:cubicBezTo>
                        <a:pt x="1528" y="406"/>
                        <a:pt x="1528" y="406"/>
                        <a:pt x="1547" y="421"/>
                      </a:cubicBezTo>
                      <a:cubicBezTo>
                        <a:pt x="1553" y="425"/>
                        <a:pt x="1556" y="432"/>
                        <a:pt x="1556" y="438"/>
                      </a:cubicBezTo>
                      <a:cubicBezTo>
                        <a:pt x="1556" y="438"/>
                        <a:pt x="1556" y="438"/>
                        <a:pt x="1556" y="964"/>
                      </a:cubicBezTo>
                      <a:cubicBezTo>
                        <a:pt x="1556" y="964"/>
                        <a:pt x="1556" y="964"/>
                        <a:pt x="1556" y="1008"/>
                      </a:cubicBezTo>
                      <a:cubicBezTo>
                        <a:pt x="1556" y="1008"/>
                        <a:pt x="1556" y="1008"/>
                        <a:pt x="1556" y="1134"/>
                      </a:cubicBezTo>
                      <a:cubicBezTo>
                        <a:pt x="1556" y="1134"/>
                        <a:pt x="1556" y="1134"/>
                        <a:pt x="1512" y="1134"/>
                      </a:cubicBezTo>
                      <a:cubicBezTo>
                        <a:pt x="1512" y="1134"/>
                        <a:pt x="1512" y="1134"/>
                        <a:pt x="1512" y="1008"/>
                      </a:cubicBezTo>
                      <a:cubicBezTo>
                        <a:pt x="1512" y="1008"/>
                        <a:pt x="1512" y="1008"/>
                        <a:pt x="1512" y="964"/>
                      </a:cubicBezTo>
                      <a:cubicBezTo>
                        <a:pt x="1512" y="964"/>
                        <a:pt x="1512" y="964"/>
                        <a:pt x="1512" y="449"/>
                      </a:cubicBezTo>
                      <a:cubicBezTo>
                        <a:pt x="1512" y="449"/>
                        <a:pt x="1512" y="449"/>
                        <a:pt x="1456" y="406"/>
                      </a:cubicBezTo>
                      <a:cubicBezTo>
                        <a:pt x="1456" y="406"/>
                        <a:pt x="1456" y="406"/>
                        <a:pt x="1111" y="138"/>
                      </a:cubicBezTo>
                      <a:cubicBezTo>
                        <a:pt x="1111" y="138"/>
                        <a:pt x="1111" y="138"/>
                        <a:pt x="1000" y="51"/>
                      </a:cubicBezTo>
                      <a:cubicBezTo>
                        <a:pt x="1000" y="51"/>
                        <a:pt x="1000" y="51"/>
                        <a:pt x="889" y="138"/>
                      </a:cubicBezTo>
                      <a:cubicBezTo>
                        <a:pt x="889" y="138"/>
                        <a:pt x="889" y="138"/>
                        <a:pt x="544" y="406"/>
                      </a:cubicBezTo>
                      <a:cubicBezTo>
                        <a:pt x="544" y="406"/>
                        <a:pt x="544" y="406"/>
                        <a:pt x="488" y="449"/>
                      </a:cubicBezTo>
                      <a:cubicBezTo>
                        <a:pt x="488" y="449"/>
                        <a:pt x="488" y="449"/>
                        <a:pt x="488" y="964"/>
                      </a:cubicBezTo>
                      <a:cubicBezTo>
                        <a:pt x="488" y="964"/>
                        <a:pt x="488" y="964"/>
                        <a:pt x="488" y="1008"/>
                      </a:cubicBezTo>
                      <a:cubicBezTo>
                        <a:pt x="488" y="1134"/>
                        <a:pt x="488" y="1134"/>
                        <a:pt x="488" y="1134"/>
                      </a:cubicBezTo>
                      <a:cubicBezTo>
                        <a:pt x="488" y="1134"/>
                        <a:pt x="488" y="1134"/>
                        <a:pt x="444" y="1134"/>
                      </a:cubicBezTo>
                      <a:cubicBezTo>
                        <a:pt x="444" y="1134"/>
                        <a:pt x="444" y="1134"/>
                        <a:pt x="444" y="1008"/>
                      </a:cubicBezTo>
                      <a:cubicBezTo>
                        <a:pt x="444" y="1008"/>
                        <a:pt x="444" y="1008"/>
                        <a:pt x="444" y="964"/>
                      </a:cubicBezTo>
                      <a:cubicBezTo>
                        <a:pt x="444" y="964"/>
                        <a:pt x="444" y="964"/>
                        <a:pt x="444" y="438"/>
                      </a:cubicBezTo>
                      <a:cubicBezTo>
                        <a:pt x="444" y="432"/>
                        <a:pt x="447" y="425"/>
                        <a:pt x="453" y="421"/>
                      </a:cubicBezTo>
                      <a:cubicBezTo>
                        <a:pt x="453" y="421"/>
                        <a:pt x="453" y="421"/>
                        <a:pt x="472" y="406"/>
                      </a:cubicBezTo>
                      <a:cubicBezTo>
                        <a:pt x="472" y="406"/>
                        <a:pt x="472" y="406"/>
                        <a:pt x="817" y="138"/>
                      </a:cubicBezTo>
                      <a:cubicBezTo>
                        <a:pt x="817" y="138"/>
                        <a:pt x="817" y="138"/>
                        <a:pt x="987" y="6"/>
                      </a:cubicBezTo>
                      <a:close/>
                    </a:path>
                  </a:pathLst>
                </a:custGeom>
                <a:solidFill>
                  <a:srgbClr val="003B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dirty="0"/>
                </a:p>
              </p:txBody>
            </p:sp>
            <p:sp>
              <p:nvSpPr>
                <p:cNvPr id="177" name="Freeform 11">
                  <a:extLst>
                    <a:ext uri="{FF2B5EF4-FFF2-40B4-BE49-F238E27FC236}">
                      <a16:creationId xmlns:a16="http://schemas.microsoft.com/office/drawing/2014/main" id="{45BEEDC5-211F-4695-AE85-8982AB947EE7}"/>
                    </a:ext>
                  </a:extLst>
                </p:cNvPr>
                <p:cNvSpPr>
                  <a:spLocks/>
                </p:cNvSpPr>
                <p:nvPr/>
              </p:nvSpPr>
              <p:spPr bwMode="auto">
                <a:xfrm>
                  <a:off x="5346302" y="2868613"/>
                  <a:ext cx="1504356" cy="1055687"/>
                </a:xfrm>
                <a:custGeom>
                  <a:avLst/>
                  <a:gdLst>
                    <a:gd name="connsiteX0" fmla="*/ 674254 w 1504356"/>
                    <a:gd name="connsiteY0" fmla="*/ 738187 h 1055687"/>
                    <a:gd name="connsiteX1" fmla="*/ 829903 w 1504356"/>
                    <a:gd name="connsiteY1" fmla="*/ 738187 h 1055687"/>
                    <a:gd name="connsiteX2" fmla="*/ 837010 w 1504356"/>
                    <a:gd name="connsiteY2" fmla="*/ 745306 h 1055687"/>
                    <a:gd name="connsiteX3" fmla="*/ 837010 w 1504356"/>
                    <a:gd name="connsiteY3" fmla="*/ 1048568 h 1055687"/>
                    <a:gd name="connsiteX4" fmla="*/ 829903 w 1504356"/>
                    <a:gd name="connsiteY4" fmla="*/ 1055687 h 1055687"/>
                    <a:gd name="connsiteX5" fmla="*/ 674254 w 1504356"/>
                    <a:gd name="connsiteY5" fmla="*/ 1055687 h 1055687"/>
                    <a:gd name="connsiteX6" fmla="*/ 667147 w 1504356"/>
                    <a:gd name="connsiteY6" fmla="*/ 1048568 h 1055687"/>
                    <a:gd name="connsiteX7" fmla="*/ 667147 w 1504356"/>
                    <a:gd name="connsiteY7" fmla="*/ 745306 h 1055687"/>
                    <a:gd name="connsiteX8" fmla="*/ 674254 w 1504356"/>
                    <a:gd name="connsiteY8" fmla="*/ 738187 h 1055687"/>
                    <a:gd name="connsiteX9" fmla="*/ 1304564 w 1504356"/>
                    <a:gd name="connsiteY9" fmla="*/ 730250 h 1055687"/>
                    <a:gd name="connsiteX10" fmla="*/ 1372757 w 1504356"/>
                    <a:gd name="connsiteY10" fmla="*/ 730250 h 1055687"/>
                    <a:gd name="connsiteX11" fmla="*/ 1379935 w 1504356"/>
                    <a:gd name="connsiteY11" fmla="*/ 737428 h 1055687"/>
                    <a:gd name="connsiteX12" fmla="*/ 1379935 w 1504356"/>
                    <a:gd name="connsiteY12" fmla="*/ 805622 h 1055687"/>
                    <a:gd name="connsiteX13" fmla="*/ 1372757 w 1504356"/>
                    <a:gd name="connsiteY13" fmla="*/ 812800 h 1055687"/>
                    <a:gd name="connsiteX14" fmla="*/ 1304564 w 1504356"/>
                    <a:gd name="connsiteY14" fmla="*/ 812800 h 1055687"/>
                    <a:gd name="connsiteX15" fmla="*/ 1297385 w 1504356"/>
                    <a:gd name="connsiteY15" fmla="*/ 805622 h 1055687"/>
                    <a:gd name="connsiteX16" fmla="*/ 1297385 w 1504356"/>
                    <a:gd name="connsiteY16" fmla="*/ 737428 h 1055687"/>
                    <a:gd name="connsiteX17" fmla="*/ 1304564 w 1504356"/>
                    <a:gd name="connsiteY17" fmla="*/ 730250 h 1055687"/>
                    <a:gd name="connsiteX18" fmla="*/ 1187089 w 1504356"/>
                    <a:gd name="connsiteY18" fmla="*/ 730250 h 1055687"/>
                    <a:gd name="connsiteX19" fmla="*/ 1255282 w 1504356"/>
                    <a:gd name="connsiteY19" fmla="*/ 730250 h 1055687"/>
                    <a:gd name="connsiteX20" fmla="*/ 1262460 w 1504356"/>
                    <a:gd name="connsiteY20" fmla="*/ 737428 h 1055687"/>
                    <a:gd name="connsiteX21" fmla="*/ 1262460 w 1504356"/>
                    <a:gd name="connsiteY21" fmla="*/ 805622 h 1055687"/>
                    <a:gd name="connsiteX22" fmla="*/ 1255282 w 1504356"/>
                    <a:gd name="connsiteY22" fmla="*/ 812800 h 1055687"/>
                    <a:gd name="connsiteX23" fmla="*/ 1187089 w 1504356"/>
                    <a:gd name="connsiteY23" fmla="*/ 812800 h 1055687"/>
                    <a:gd name="connsiteX24" fmla="*/ 1179910 w 1504356"/>
                    <a:gd name="connsiteY24" fmla="*/ 805622 h 1055687"/>
                    <a:gd name="connsiteX25" fmla="*/ 1179910 w 1504356"/>
                    <a:gd name="connsiteY25" fmla="*/ 737428 h 1055687"/>
                    <a:gd name="connsiteX26" fmla="*/ 1187089 w 1504356"/>
                    <a:gd name="connsiteY26" fmla="*/ 730250 h 1055687"/>
                    <a:gd name="connsiteX27" fmla="*/ 248813 w 1504356"/>
                    <a:gd name="connsiteY27" fmla="*/ 730250 h 1055687"/>
                    <a:gd name="connsiteX28" fmla="*/ 317130 w 1504356"/>
                    <a:gd name="connsiteY28" fmla="*/ 730250 h 1055687"/>
                    <a:gd name="connsiteX29" fmla="*/ 324247 w 1504356"/>
                    <a:gd name="connsiteY29" fmla="*/ 737428 h 1055687"/>
                    <a:gd name="connsiteX30" fmla="*/ 324247 w 1504356"/>
                    <a:gd name="connsiteY30" fmla="*/ 805622 h 1055687"/>
                    <a:gd name="connsiteX31" fmla="*/ 317130 w 1504356"/>
                    <a:gd name="connsiteY31" fmla="*/ 812800 h 1055687"/>
                    <a:gd name="connsiteX32" fmla="*/ 248813 w 1504356"/>
                    <a:gd name="connsiteY32" fmla="*/ 812800 h 1055687"/>
                    <a:gd name="connsiteX33" fmla="*/ 241697 w 1504356"/>
                    <a:gd name="connsiteY33" fmla="*/ 805622 h 1055687"/>
                    <a:gd name="connsiteX34" fmla="*/ 241697 w 1504356"/>
                    <a:gd name="connsiteY34" fmla="*/ 737428 h 1055687"/>
                    <a:gd name="connsiteX35" fmla="*/ 248813 w 1504356"/>
                    <a:gd name="connsiteY35" fmla="*/ 730250 h 1055687"/>
                    <a:gd name="connsiteX36" fmla="*/ 129813 w 1504356"/>
                    <a:gd name="connsiteY36" fmla="*/ 730250 h 1055687"/>
                    <a:gd name="connsiteX37" fmla="*/ 198006 w 1504356"/>
                    <a:gd name="connsiteY37" fmla="*/ 730250 h 1055687"/>
                    <a:gd name="connsiteX38" fmla="*/ 205185 w 1504356"/>
                    <a:gd name="connsiteY38" fmla="*/ 737428 h 1055687"/>
                    <a:gd name="connsiteX39" fmla="*/ 205185 w 1504356"/>
                    <a:gd name="connsiteY39" fmla="*/ 805622 h 1055687"/>
                    <a:gd name="connsiteX40" fmla="*/ 198006 w 1504356"/>
                    <a:gd name="connsiteY40" fmla="*/ 812800 h 1055687"/>
                    <a:gd name="connsiteX41" fmla="*/ 129813 w 1504356"/>
                    <a:gd name="connsiteY41" fmla="*/ 812800 h 1055687"/>
                    <a:gd name="connsiteX42" fmla="*/ 122635 w 1504356"/>
                    <a:gd name="connsiteY42" fmla="*/ 805622 h 1055687"/>
                    <a:gd name="connsiteX43" fmla="*/ 122635 w 1504356"/>
                    <a:gd name="connsiteY43" fmla="*/ 737428 h 1055687"/>
                    <a:gd name="connsiteX44" fmla="*/ 129813 w 1504356"/>
                    <a:gd name="connsiteY44" fmla="*/ 730250 h 1055687"/>
                    <a:gd name="connsiteX45" fmla="*/ 981472 w 1504356"/>
                    <a:gd name="connsiteY45" fmla="*/ 638175 h 1055687"/>
                    <a:gd name="connsiteX46" fmla="*/ 1048147 w 1504356"/>
                    <a:gd name="connsiteY46" fmla="*/ 703844 h 1055687"/>
                    <a:gd name="connsiteX47" fmla="*/ 1048147 w 1504356"/>
                    <a:gd name="connsiteY47" fmla="*/ 928688 h 1055687"/>
                    <a:gd name="connsiteX48" fmla="*/ 914797 w 1504356"/>
                    <a:gd name="connsiteY48" fmla="*/ 928688 h 1055687"/>
                    <a:gd name="connsiteX49" fmla="*/ 914797 w 1504356"/>
                    <a:gd name="connsiteY49" fmla="*/ 703844 h 1055687"/>
                    <a:gd name="connsiteX50" fmla="*/ 981472 w 1504356"/>
                    <a:gd name="connsiteY50" fmla="*/ 638175 h 1055687"/>
                    <a:gd name="connsiteX51" fmla="*/ 521891 w 1504356"/>
                    <a:gd name="connsiteY51" fmla="*/ 638175 h 1055687"/>
                    <a:gd name="connsiteX52" fmla="*/ 589360 w 1504356"/>
                    <a:gd name="connsiteY52" fmla="*/ 703844 h 1055687"/>
                    <a:gd name="connsiteX53" fmla="*/ 589360 w 1504356"/>
                    <a:gd name="connsiteY53" fmla="*/ 928688 h 1055687"/>
                    <a:gd name="connsiteX54" fmla="*/ 454422 w 1504356"/>
                    <a:gd name="connsiteY54" fmla="*/ 928688 h 1055687"/>
                    <a:gd name="connsiteX55" fmla="*/ 454422 w 1504356"/>
                    <a:gd name="connsiteY55" fmla="*/ 703844 h 1055687"/>
                    <a:gd name="connsiteX56" fmla="*/ 521891 w 1504356"/>
                    <a:gd name="connsiteY56" fmla="*/ 638175 h 1055687"/>
                    <a:gd name="connsiteX57" fmla="*/ 1304564 w 1504356"/>
                    <a:gd name="connsiteY57" fmla="*/ 614362 h 1055687"/>
                    <a:gd name="connsiteX58" fmla="*/ 1372757 w 1504356"/>
                    <a:gd name="connsiteY58" fmla="*/ 614362 h 1055687"/>
                    <a:gd name="connsiteX59" fmla="*/ 1379935 w 1504356"/>
                    <a:gd name="connsiteY59" fmla="*/ 621553 h 1055687"/>
                    <a:gd name="connsiteX60" fmla="*/ 1379935 w 1504356"/>
                    <a:gd name="connsiteY60" fmla="*/ 691309 h 1055687"/>
                    <a:gd name="connsiteX61" fmla="*/ 1372757 w 1504356"/>
                    <a:gd name="connsiteY61" fmla="*/ 698500 h 1055687"/>
                    <a:gd name="connsiteX62" fmla="*/ 1304564 w 1504356"/>
                    <a:gd name="connsiteY62" fmla="*/ 698500 h 1055687"/>
                    <a:gd name="connsiteX63" fmla="*/ 1297385 w 1504356"/>
                    <a:gd name="connsiteY63" fmla="*/ 691309 h 1055687"/>
                    <a:gd name="connsiteX64" fmla="*/ 1297385 w 1504356"/>
                    <a:gd name="connsiteY64" fmla="*/ 621553 h 1055687"/>
                    <a:gd name="connsiteX65" fmla="*/ 1304564 w 1504356"/>
                    <a:gd name="connsiteY65" fmla="*/ 614362 h 1055687"/>
                    <a:gd name="connsiteX66" fmla="*/ 1187089 w 1504356"/>
                    <a:gd name="connsiteY66" fmla="*/ 614362 h 1055687"/>
                    <a:gd name="connsiteX67" fmla="*/ 1255282 w 1504356"/>
                    <a:gd name="connsiteY67" fmla="*/ 614362 h 1055687"/>
                    <a:gd name="connsiteX68" fmla="*/ 1262460 w 1504356"/>
                    <a:gd name="connsiteY68" fmla="*/ 621553 h 1055687"/>
                    <a:gd name="connsiteX69" fmla="*/ 1262460 w 1504356"/>
                    <a:gd name="connsiteY69" fmla="*/ 691309 h 1055687"/>
                    <a:gd name="connsiteX70" fmla="*/ 1255282 w 1504356"/>
                    <a:gd name="connsiteY70" fmla="*/ 698500 h 1055687"/>
                    <a:gd name="connsiteX71" fmla="*/ 1187089 w 1504356"/>
                    <a:gd name="connsiteY71" fmla="*/ 698500 h 1055687"/>
                    <a:gd name="connsiteX72" fmla="*/ 1179910 w 1504356"/>
                    <a:gd name="connsiteY72" fmla="*/ 691309 h 1055687"/>
                    <a:gd name="connsiteX73" fmla="*/ 1179910 w 1504356"/>
                    <a:gd name="connsiteY73" fmla="*/ 621553 h 1055687"/>
                    <a:gd name="connsiteX74" fmla="*/ 1187089 w 1504356"/>
                    <a:gd name="connsiteY74" fmla="*/ 614362 h 1055687"/>
                    <a:gd name="connsiteX75" fmla="*/ 248813 w 1504356"/>
                    <a:gd name="connsiteY75" fmla="*/ 614362 h 1055687"/>
                    <a:gd name="connsiteX76" fmla="*/ 317130 w 1504356"/>
                    <a:gd name="connsiteY76" fmla="*/ 614362 h 1055687"/>
                    <a:gd name="connsiteX77" fmla="*/ 324247 w 1504356"/>
                    <a:gd name="connsiteY77" fmla="*/ 621553 h 1055687"/>
                    <a:gd name="connsiteX78" fmla="*/ 324247 w 1504356"/>
                    <a:gd name="connsiteY78" fmla="*/ 691309 h 1055687"/>
                    <a:gd name="connsiteX79" fmla="*/ 317130 w 1504356"/>
                    <a:gd name="connsiteY79" fmla="*/ 698500 h 1055687"/>
                    <a:gd name="connsiteX80" fmla="*/ 248813 w 1504356"/>
                    <a:gd name="connsiteY80" fmla="*/ 698500 h 1055687"/>
                    <a:gd name="connsiteX81" fmla="*/ 241697 w 1504356"/>
                    <a:gd name="connsiteY81" fmla="*/ 691309 h 1055687"/>
                    <a:gd name="connsiteX82" fmla="*/ 241697 w 1504356"/>
                    <a:gd name="connsiteY82" fmla="*/ 621553 h 1055687"/>
                    <a:gd name="connsiteX83" fmla="*/ 248813 w 1504356"/>
                    <a:gd name="connsiteY83" fmla="*/ 614362 h 1055687"/>
                    <a:gd name="connsiteX84" fmla="*/ 129813 w 1504356"/>
                    <a:gd name="connsiteY84" fmla="*/ 614362 h 1055687"/>
                    <a:gd name="connsiteX85" fmla="*/ 198006 w 1504356"/>
                    <a:gd name="connsiteY85" fmla="*/ 614362 h 1055687"/>
                    <a:gd name="connsiteX86" fmla="*/ 205185 w 1504356"/>
                    <a:gd name="connsiteY86" fmla="*/ 621553 h 1055687"/>
                    <a:gd name="connsiteX87" fmla="*/ 205185 w 1504356"/>
                    <a:gd name="connsiteY87" fmla="*/ 691309 h 1055687"/>
                    <a:gd name="connsiteX88" fmla="*/ 198006 w 1504356"/>
                    <a:gd name="connsiteY88" fmla="*/ 698500 h 1055687"/>
                    <a:gd name="connsiteX89" fmla="*/ 129813 w 1504356"/>
                    <a:gd name="connsiteY89" fmla="*/ 698500 h 1055687"/>
                    <a:gd name="connsiteX90" fmla="*/ 122635 w 1504356"/>
                    <a:gd name="connsiteY90" fmla="*/ 691309 h 1055687"/>
                    <a:gd name="connsiteX91" fmla="*/ 122635 w 1504356"/>
                    <a:gd name="connsiteY91" fmla="*/ 621553 h 1055687"/>
                    <a:gd name="connsiteX92" fmla="*/ 129813 w 1504356"/>
                    <a:gd name="connsiteY92" fmla="*/ 614362 h 1055687"/>
                    <a:gd name="connsiteX93" fmla="*/ 796730 w 1504356"/>
                    <a:gd name="connsiteY93" fmla="*/ 490381 h 1055687"/>
                    <a:gd name="connsiteX94" fmla="*/ 756924 w 1504356"/>
                    <a:gd name="connsiteY94" fmla="*/ 514708 h 1055687"/>
                    <a:gd name="connsiteX95" fmla="*/ 752660 w 1504356"/>
                    <a:gd name="connsiteY95" fmla="*/ 513992 h 1055687"/>
                    <a:gd name="connsiteX96" fmla="*/ 746262 w 1504356"/>
                    <a:gd name="connsiteY96" fmla="*/ 515423 h 1055687"/>
                    <a:gd name="connsiteX97" fmla="*/ 717829 w 1504356"/>
                    <a:gd name="connsiteY97" fmla="*/ 503975 h 1055687"/>
                    <a:gd name="connsiteX98" fmla="*/ 711432 w 1504356"/>
                    <a:gd name="connsiteY98" fmla="*/ 505406 h 1055687"/>
                    <a:gd name="connsiteX99" fmla="*/ 712854 w 1504356"/>
                    <a:gd name="connsiteY99" fmla="*/ 512561 h 1055687"/>
                    <a:gd name="connsiteX100" fmla="*/ 739865 w 1504356"/>
                    <a:gd name="connsiteY100" fmla="*/ 528302 h 1055687"/>
                    <a:gd name="connsiteX101" fmla="*/ 744840 w 1504356"/>
                    <a:gd name="connsiteY101" fmla="*/ 536888 h 1055687"/>
                    <a:gd name="connsiteX102" fmla="*/ 752660 w 1504356"/>
                    <a:gd name="connsiteY102" fmla="*/ 539750 h 1055687"/>
                    <a:gd name="connsiteX103" fmla="*/ 759768 w 1504356"/>
                    <a:gd name="connsiteY103" fmla="*/ 536888 h 1055687"/>
                    <a:gd name="connsiteX104" fmla="*/ 764743 w 1504356"/>
                    <a:gd name="connsiteY104" fmla="*/ 526871 h 1055687"/>
                    <a:gd name="connsiteX105" fmla="*/ 803128 w 1504356"/>
                    <a:gd name="connsiteY105" fmla="*/ 498252 h 1055687"/>
                    <a:gd name="connsiteX106" fmla="*/ 803839 w 1504356"/>
                    <a:gd name="connsiteY106" fmla="*/ 491097 h 1055687"/>
                    <a:gd name="connsiteX107" fmla="*/ 796730 w 1504356"/>
                    <a:gd name="connsiteY107" fmla="*/ 490381 h 1055687"/>
                    <a:gd name="connsiteX108" fmla="*/ 751285 w 1504356"/>
                    <a:gd name="connsiteY108" fmla="*/ 447675 h 1055687"/>
                    <a:gd name="connsiteX109" fmla="*/ 805522 w 1504356"/>
                    <a:gd name="connsiteY109" fmla="*/ 469283 h 1055687"/>
                    <a:gd name="connsiteX110" fmla="*/ 829072 w 1504356"/>
                    <a:gd name="connsiteY110" fmla="*/ 525463 h 1055687"/>
                    <a:gd name="connsiteX111" fmla="*/ 828359 w 1504356"/>
                    <a:gd name="connsiteY111" fmla="*/ 536266 h 1055687"/>
                    <a:gd name="connsiteX112" fmla="*/ 751285 w 1504356"/>
                    <a:gd name="connsiteY112" fmla="*/ 603250 h 1055687"/>
                    <a:gd name="connsiteX113" fmla="*/ 674211 w 1504356"/>
                    <a:gd name="connsiteY113" fmla="*/ 536266 h 1055687"/>
                    <a:gd name="connsiteX114" fmla="*/ 673497 w 1504356"/>
                    <a:gd name="connsiteY114" fmla="*/ 525463 h 1055687"/>
                    <a:gd name="connsiteX115" fmla="*/ 697761 w 1504356"/>
                    <a:gd name="connsiteY115" fmla="*/ 469283 h 1055687"/>
                    <a:gd name="connsiteX116" fmla="*/ 751285 w 1504356"/>
                    <a:gd name="connsiteY116" fmla="*/ 447675 h 1055687"/>
                    <a:gd name="connsiteX117" fmla="*/ 933847 w 1504356"/>
                    <a:gd name="connsiteY117" fmla="*/ 344487 h 1055687"/>
                    <a:gd name="connsiteX118" fmla="*/ 1272741 w 1504356"/>
                    <a:gd name="connsiteY118" fmla="*/ 344487 h 1055687"/>
                    <a:gd name="connsiteX119" fmla="*/ 1497956 w 1504356"/>
                    <a:gd name="connsiteY119" fmla="*/ 506448 h 1055687"/>
                    <a:gd name="connsiteX120" fmla="*/ 1489376 w 1504356"/>
                    <a:gd name="connsiteY120" fmla="*/ 534987 h 1055687"/>
                    <a:gd name="connsiteX121" fmla="*/ 1177651 w 1504356"/>
                    <a:gd name="connsiteY121" fmla="*/ 534987 h 1055687"/>
                    <a:gd name="connsiteX122" fmla="*/ 1173361 w 1504356"/>
                    <a:gd name="connsiteY122" fmla="*/ 530706 h 1055687"/>
                    <a:gd name="connsiteX123" fmla="*/ 933847 w 1504356"/>
                    <a:gd name="connsiteY123" fmla="*/ 344487 h 1055687"/>
                    <a:gd name="connsiteX124" fmla="*/ 230762 w 1504356"/>
                    <a:gd name="connsiteY124" fmla="*/ 344487 h 1055687"/>
                    <a:gd name="connsiteX125" fmla="*/ 568722 w 1504356"/>
                    <a:gd name="connsiteY125" fmla="*/ 344487 h 1055687"/>
                    <a:gd name="connsiteX126" fmla="*/ 329868 w 1504356"/>
                    <a:gd name="connsiteY126" fmla="*/ 530706 h 1055687"/>
                    <a:gd name="connsiteX127" fmla="*/ 325590 w 1504356"/>
                    <a:gd name="connsiteY127" fmla="*/ 534987 h 1055687"/>
                    <a:gd name="connsiteX128" fmla="*/ 15437 w 1504356"/>
                    <a:gd name="connsiteY128" fmla="*/ 534987 h 1055687"/>
                    <a:gd name="connsiteX129" fmla="*/ 6881 w 1504356"/>
                    <a:gd name="connsiteY129" fmla="*/ 506448 h 1055687"/>
                    <a:gd name="connsiteX130" fmla="*/ 230762 w 1504356"/>
                    <a:gd name="connsiteY130" fmla="*/ 344487 h 1055687"/>
                    <a:gd name="connsiteX131" fmla="*/ 738983 w 1504356"/>
                    <a:gd name="connsiteY131" fmla="*/ 0 h 1055687"/>
                    <a:gd name="connsiteX132" fmla="*/ 762566 w 1504356"/>
                    <a:gd name="connsiteY132" fmla="*/ 0 h 1055687"/>
                    <a:gd name="connsiteX133" fmla="*/ 951943 w 1504356"/>
                    <a:gd name="connsiteY133" fmla="*/ 0 h 1055687"/>
                    <a:gd name="connsiteX134" fmla="*/ 954802 w 1504356"/>
                    <a:gd name="connsiteY134" fmla="*/ 7131 h 1055687"/>
                    <a:gd name="connsiteX135" fmla="*/ 906207 w 1504356"/>
                    <a:gd name="connsiteY135" fmla="*/ 55620 h 1055687"/>
                    <a:gd name="connsiteX136" fmla="*/ 906207 w 1504356"/>
                    <a:gd name="connsiteY136" fmla="*/ 61324 h 1055687"/>
                    <a:gd name="connsiteX137" fmla="*/ 954802 w 1504356"/>
                    <a:gd name="connsiteY137" fmla="*/ 109813 h 1055687"/>
                    <a:gd name="connsiteX138" fmla="*/ 951943 w 1504356"/>
                    <a:gd name="connsiteY138" fmla="*/ 116944 h 1055687"/>
                    <a:gd name="connsiteX139" fmla="*/ 770427 w 1504356"/>
                    <a:gd name="connsiteY139" fmla="*/ 116944 h 1055687"/>
                    <a:gd name="connsiteX140" fmla="*/ 766854 w 1504356"/>
                    <a:gd name="connsiteY140" fmla="*/ 120510 h 1055687"/>
                    <a:gd name="connsiteX141" fmla="*/ 766854 w 1504356"/>
                    <a:gd name="connsiteY141" fmla="*/ 214636 h 1055687"/>
                    <a:gd name="connsiteX142" fmla="*/ 761852 w 1504356"/>
                    <a:gd name="connsiteY142" fmla="*/ 211070 h 1055687"/>
                    <a:gd name="connsiteX143" fmla="*/ 743271 w 1504356"/>
                    <a:gd name="connsiteY143" fmla="*/ 211070 h 1055687"/>
                    <a:gd name="connsiteX144" fmla="*/ 735410 w 1504356"/>
                    <a:gd name="connsiteY144" fmla="*/ 217488 h 1055687"/>
                    <a:gd name="connsiteX145" fmla="*/ 735410 w 1504356"/>
                    <a:gd name="connsiteY145" fmla="*/ 116944 h 1055687"/>
                    <a:gd name="connsiteX146" fmla="*/ 735410 w 1504356"/>
                    <a:gd name="connsiteY146" fmla="*/ 4278 h 1055687"/>
                    <a:gd name="connsiteX147" fmla="*/ 738983 w 1504356"/>
                    <a:gd name="connsiteY147" fmla="*/ 0 h 1055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Lst>
                  <a:rect l="l" t="t" r="r" b="b"/>
                  <a:pathLst>
                    <a:path w="1504356" h="1055687">
                      <a:moveTo>
                        <a:pt x="674254" y="738187"/>
                      </a:moveTo>
                      <a:cubicBezTo>
                        <a:pt x="674254" y="738187"/>
                        <a:pt x="674254" y="738187"/>
                        <a:pt x="829903" y="738187"/>
                      </a:cubicBezTo>
                      <a:cubicBezTo>
                        <a:pt x="834167" y="738187"/>
                        <a:pt x="837010" y="741035"/>
                        <a:pt x="837010" y="745306"/>
                      </a:cubicBezTo>
                      <a:cubicBezTo>
                        <a:pt x="837010" y="745306"/>
                        <a:pt x="837010" y="745306"/>
                        <a:pt x="837010" y="1048568"/>
                      </a:cubicBezTo>
                      <a:cubicBezTo>
                        <a:pt x="837010" y="1052840"/>
                        <a:pt x="834167" y="1055687"/>
                        <a:pt x="829903" y="1055687"/>
                      </a:cubicBezTo>
                      <a:cubicBezTo>
                        <a:pt x="829903" y="1055687"/>
                        <a:pt x="829903" y="1055687"/>
                        <a:pt x="674254" y="1055687"/>
                      </a:cubicBezTo>
                      <a:cubicBezTo>
                        <a:pt x="669990" y="1055687"/>
                        <a:pt x="667147" y="1052840"/>
                        <a:pt x="667147" y="1048568"/>
                      </a:cubicBezTo>
                      <a:cubicBezTo>
                        <a:pt x="667147" y="1048568"/>
                        <a:pt x="667147" y="1048568"/>
                        <a:pt x="667147" y="745306"/>
                      </a:cubicBezTo>
                      <a:cubicBezTo>
                        <a:pt x="667147" y="741035"/>
                        <a:pt x="669990" y="738187"/>
                        <a:pt x="674254" y="738187"/>
                      </a:cubicBezTo>
                      <a:close/>
                      <a:moveTo>
                        <a:pt x="1304564" y="730250"/>
                      </a:moveTo>
                      <a:cubicBezTo>
                        <a:pt x="1304564" y="730250"/>
                        <a:pt x="1304564" y="730250"/>
                        <a:pt x="1372757" y="730250"/>
                      </a:cubicBezTo>
                      <a:cubicBezTo>
                        <a:pt x="1377064" y="730250"/>
                        <a:pt x="1379935" y="733121"/>
                        <a:pt x="1379935" y="737428"/>
                      </a:cubicBezTo>
                      <a:cubicBezTo>
                        <a:pt x="1379935" y="737428"/>
                        <a:pt x="1379935" y="737428"/>
                        <a:pt x="1379935" y="805622"/>
                      </a:cubicBezTo>
                      <a:cubicBezTo>
                        <a:pt x="1379935" y="809929"/>
                        <a:pt x="1377064" y="812800"/>
                        <a:pt x="1372757" y="812800"/>
                      </a:cubicBezTo>
                      <a:cubicBezTo>
                        <a:pt x="1372757" y="812800"/>
                        <a:pt x="1372757" y="812800"/>
                        <a:pt x="1304564" y="812800"/>
                      </a:cubicBezTo>
                      <a:cubicBezTo>
                        <a:pt x="1300974" y="812800"/>
                        <a:pt x="1297385" y="809929"/>
                        <a:pt x="1297385" y="805622"/>
                      </a:cubicBezTo>
                      <a:cubicBezTo>
                        <a:pt x="1297385" y="805622"/>
                        <a:pt x="1297385" y="805622"/>
                        <a:pt x="1297385" y="737428"/>
                      </a:cubicBezTo>
                      <a:cubicBezTo>
                        <a:pt x="1297385" y="733121"/>
                        <a:pt x="1300974" y="730250"/>
                        <a:pt x="1304564" y="730250"/>
                      </a:cubicBezTo>
                      <a:close/>
                      <a:moveTo>
                        <a:pt x="1187089" y="730250"/>
                      </a:moveTo>
                      <a:cubicBezTo>
                        <a:pt x="1187089" y="730250"/>
                        <a:pt x="1187089" y="730250"/>
                        <a:pt x="1255282" y="730250"/>
                      </a:cubicBezTo>
                      <a:cubicBezTo>
                        <a:pt x="1259589" y="730250"/>
                        <a:pt x="1262460" y="733121"/>
                        <a:pt x="1262460" y="737428"/>
                      </a:cubicBezTo>
                      <a:cubicBezTo>
                        <a:pt x="1262460" y="737428"/>
                        <a:pt x="1262460" y="737428"/>
                        <a:pt x="1262460" y="805622"/>
                      </a:cubicBezTo>
                      <a:cubicBezTo>
                        <a:pt x="1262460" y="809929"/>
                        <a:pt x="1259589" y="812800"/>
                        <a:pt x="1255282" y="812800"/>
                      </a:cubicBezTo>
                      <a:cubicBezTo>
                        <a:pt x="1255282" y="812800"/>
                        <a:pt x="1255282" y="812800"/>
                        <a:pt x="1187089" y="812800"/>
                      </a:cubicBezTo>
                      <a:cubicBezTo>
                        <a:pt x="1182782" y="812800"/>
                        <a:pt x="1179910" y="809929"/>
                        <a:pt x="1179910" y="805622"/>
                      </a:cubicBezTo>
                      <a:cubicBezTo>
                        <a:pt x="1179910" y="805622"/>
                        <a:pt x="1179910" y="805622"/>
                        <a:pt x="1179910" y="737428"/>
                      </a:cubicBezTo>
                      <a:cubicBezTo>
                        <a:pt x="1179910" y="733121"/>
                        <a:pt x="1182782" y="730250"/>
                        <a:pt x="1187089" y="730250"/>
                      </a:cubicBezTo>
                      <a:close/>
                      <a:moveTo>
                        <a:pt x="248813" y="730250"/>
                      </a:moveTo>
                      <a:cubicBezTo>
                        <a:pt x="248813" y="730250"/>
                        <a:pt x="248813" y="730250"/>
                        <a:pt x="317130" y="730250"/>
                      </a:cubicBezTo>
                      <a:cubicBezTo>
                        <a:pt x="321400" y="730250"/>
                        <a:pt x="324247" y="733121"/>
                        <a:pt x="324247" y="737428"/>
                      </a:cubicBezTo>
                      <a:cubicBezTo>
                        <a:pt x="324247" y="737428"/>
                        <a:pt x="324247" y="737428"/>
                        <a:pt x="324247" y="805622"/>
                      </a:cubicBezTo>
                      <a:cubicBezTo>
                        <a:pt x="324247" y="809929"/>
                        <a:pt x="321400" y="812800"/>
                        <a:pt x="317130" y="812800"/>
                      </a:cubicBezTo>
                      <a:cubicBezTo>
                        <a:pt x="317130" y="812800"/>
                        <a:pt x="317130" y="812800"/>
                        <a:pt x="248813" y="812800"/>
                      </a:cubicBezTo>
                      <a:cubicBezTo>
                        <a:pt x="244543" y="812800"/>
                        <a:pt x="241697" y="809929"/>
                        <a:pt x="241697" y="805622"/>
                      </a:cubicBezTo>
                      <a:cubicBezTo>
                        <a:pt x="241697" y="805622"/>
                        <a:pt x="241697" y="805622"/>
                        <a:pt x="241697" y="737428"/>
                      </a:cubicBezTo>
                      <a:cubicBezTo>
                        <a:pt x="241697" y="733121"/>
                        <a:pt x="244543" y="730250"/>
                        <a:pt x="248813" y="730250"/>
                      </a:cubicBezTo>
                      <a:close/>
                      <a:moveTo>
                        <a:pt x="129813" y="730250"/>
                      </a:moveTo>
                      <a:cubicBezTo>
                        <a:pt x="129813" y="730250"/>
                        <a:pt x="129813" y="730250"/>
                        <a:pt x="198006" y="730250"/>
                      </a:cubicBezTo>
                      <a:cubicBezTo>
                        <a:pt x="201596" y="730250"/>
                        <a:pt x="205185" y="733121"/>
                        <a:pt x="205185" y="737428"/>
                      </a:cubicBezTo>
                      <a:cubicBezTo>
                        <a:pt x="205185" y="737428"/>
                        <a:pt x="205185" y="737428"/>
                        <a:pt x="205185" y="805622"/>
                      </a:cubicBezTo>
                      <a:cubicBezTo>
                        <a:pt x="205185" y="809929"/>
                        <a:pt x="201596" y="812800"/>
                        <a:pt x="198006" y="812800"/>
                      </a:cubicBezTo>
                      <a:cubicBezTo>
                        <a:pt x="198006" y="812800"/>
                        <a:pt x="198006" y="812800"/>
                        <a:pt x="129813" y="812800"/>
                      </a:cubicBezTo>
                      <a:cubicBezTo>
                        <a:pt x="125506" y="812800"/>
                        <a:pt x="122635" y="809929"/>
                        <a:pt x="122635" y="805622"/>
                      </a:cubicBezTo>
                      <a:cubicBezTo>
                        <a:pt x="122635" y="805622"/>
                        <a:pt x="122635" y="805622"/>
                        <a:pt x="122635" y="737428"/>
                      </a:cubicBezTo>
                      <a:cubicBezTo>
                        <a:pt x="122635" y="733121"/>
                        <a:pt x="125506" y="730250"/>
                        <a:pt x="129813" y="730250"/>
                      </a:cubicBezTo>
                      <a:close/>
                      <a:moveTo>
                        <a:pt x="981472" y="638175"/>
                      </a:moveTo>
                      <a:cubicBezTo>
                        <a:pt x="1018356" y="638175"/>
                        <a:pt x="1048147" y="667441"/>
                        <a:pt x="1048147" y="703844"/>
                      </a:cubicBezTo>
                      <a:cubicBezTo>
                        <a:pt x="1048147" y="703844"/>
                        <a:pt x="1048147" y="703844"/>
                        <a:pt x="1048147" y="928688"/>
                      </a:cubicBezTo>
                      <a:cubicBezTo>
                        <a:pt x="1048147" y="928688"/>
                        <a:pt x="1048147" y="928688"/>
                        <a:pt x="914797" y="928688"/>
                      </a:cubicBezTo>
                      <a:cubicBezTo>
                        <a:pt x="914797" y="928688"/>
                        <a:pt x="914797" y="928688"/>
                        <a:pt x="914797" y="703844"/>
                      </a:cubicBezTo>
                      <a:cubicBezTo>
                        <a:pt x="914797" y="667441"/>
                        <a:pt x="945298" y="638175"/>
                        <a:pt x="981472" y="638175"/>
                      </a:cubicBezTo>
                      <a:close/>
                      <a:moveTo>
                        <a:pt x="521891" y="638175"/>
                      </a:moveTo>
                      <a:cubicBezTo>
                        <a:pt x="558496" y="638175"/>
                        <a:pt x="589360" y="667441"/>
                        <a:pt x="589360" y="703844"/>
                      </a:cubicBezTo>
                      <a:cubicBezTo>
                        <a:pt x="589360" y="703844"/>
                        <a:pt x="589360" y="703844"/>
                        <a:pt x="589360" y="928688"/>
                      </a:cubicBezTo>
                      <a:cubicBezTo>
                        <a:pt x="589360" y="928688"/>
                        <a:pt x="589360" y="928688"/>
                        <a:pt x="454422" y="928688"/>
                      </a:cubicBezTo>
                      <a:cubicBezTo>
                        <a:pt x="454422" y="928688"/>
                        <a:pt x="454422" y="928688"/>
                        <a:pt x="454422" y="703844"/>
                      </a:cubicBezTo>
                      <a:cubicBezTo>
                        <a:pt x="454422" y="667441"/>
                        <a:pt x="484567" y="638175"/>
                        <a:pt x="521891" y="638175"/>
                      </a:cubicBezTo>
                      <a:close/>
                      <a:moveTo>
                        <a:pt x="1304564" y="614362"/>
                      </a:moveTo>
                      <a:cubicBezTo>
                        <a:pt x="1304564" y="614362"/>
                        <a:pt x="1304564" y="614362"/>
                        <a:pt x="1372757" y="614362"/>
                      </a:cubicBezTo>
                      <a:cubicBezTo>
                        <a:pt x="1377064" y="614362"/>
                        <a:pt x="1379935" y="617239"/>
                        <a:pt x="1379935" y="621553"/>
                      </a:cubicBezTo>
                      <a:cubicBezTo>
                        <a:pt x="1379935" y="621553"/>
                        <a:pt x="1379935" y="621553"/>
                        <a:pt x="1379935" y="691309"/>
                      </a:cubicBezTo>
                      <a:cubicBezTo>
                        <a:pt x="1379935" y="695624"/>
                        <a:pt x="1377064" y="698500"/>
                        <a:pt x="1372757" y="698500"/>
                      </a:cubicBezTo>
                      <a:cubicBezTo>
                        <a:pt x="1372757" y="698500"/>
                        <a:pt x="1372757" y="698500"/>
                        <a:pt x="1304564" y="698500"/>
                      </a:cubicBezTo>
                      <a:cubicBezTo>
                        <a:pt x="1300974" y="698500"/>
                        <a:pt x="1297385" y="695624"/>
                        <a:pt x="1297385" y="691309"/>
                      </a:cubicBezTo>
                      <a:cubicBezTo>
                        <a:pt x="1297385" y="691309"/>
                        <a:pt x="1297385" y="691309"/>
                        <a:pt x="1297385" y="621553"/>
                      </a:cubicBezTo>
                      <a:cubicBezTo>
                        <a:pt x="1297385" y="617239"/>
                        <a:pt x="1300974" y="614362"/>
                        <a:pt x="1304564" y="614362"/>
                      </a:cubicBezTo>
                      <a:close/>
                      <a:moveTo>
                        <a:pt x="1187089" y="614362"/>
                      </a:moveTo>
                      <a:cubicBezTo>
                        <a:pt x="1187089" y="614362"/>
                        <a:pt x="1187089" y="614362"/>
                        <a:pt x="1255282" y="614362"/>
                      </a:cubicBezTo>
                      <a:cubicBezTo>
                        <a:pt x="1259589" y="614362"/>
                        <a:pt x="1262460" y="617239"/>
                        <a:pt x="1262460" y="621553"/>
                      </a:cubicBezTo>
                      <a:cubicBezTo>
                        <a:pt x="1262460" y="621553"/>
                        <a:pt x="1262460" y="621553"/>
                        <a:pt x="1262460" y="691309"/>
                      </a:cubicBezTo>
                      <a:cubicBezTo>
                        <a:pt x="1262460" y="695624"/>
                        <a:pt x="1259589" y="698500"/>
                        <a:pt x="1255282" y="698500"/>
                      </a:cubicBezTo>
                      <a:cubicBezTo>
                        <a:pt x="1255282" y="698500"/>
                        <a:pt x="1255282" y="698500"/>
                        <a:pt x="1187089" y="698500"/>
                      </a:cubicBezTo>
                      <a:cubicBezTo>
                        <a:pt x="1182782" y="698500"/>
                        <a:pt x="1179910" y="695624"/>
                        <a:pt x="1179910" y="691309"/>
                      </a:cubicBezTo>
                      <a:cubicBezTo>
                        <a:pt x="1179910" y="691309"/>
                        <a:pt x="1179910" y="691309"/>
                        <a:pt x="1179910" y="621553"/>
                      </a:cubicBezTo>
                      <a:cubicBezTo>
                        <a:pt x="1179910" y="617239"/>
                        <a:pt x="1182782" y="614362"/>
                        <a:pt x="1187089" y="614362"/>
                      </a:cubicBezTo>
                      <a:close/>
                      <a:moveTo>
                        <a:pt x="248813" y="614362"/>
                      </a:moveTo>
                      <a:cubicBezTo>
                        <a:pt x="248813" y="614362"/>
                        <a:pt x="248813" y="614362"/>
                        <a:pt x="317130" y="614362"/>
                      </a:cubicBezTo>
                      <a:cubicBezTo>
                        <a:pt x="321400" y="614362"/>
                        <a:pt x="324247" y="617239"/>
                        <a:pt x="324247" y="621553"/>
                      </a:cubicBezTo>
                      <a:cubicBezTo>
                        <a:pt x="324247" y="621553"/>
                        <a:pt x="324247" y="621553"/>
                        <a:pt x="324247" y="691309"/>
                      </a:cubicBezTo>
                      <a:cubicBezTo>
                        <a:pt x="324247" y="695624"/>
                        <a:pt x="321400" y="698500"/>
                        <a:pt x="317130" y="698500"/>
                      </a:cubicBezTo>
                      <a:cubicBezTo>
                        <a:pt x="317130" y="698500"/>
                        <a:pt x="317130" y="698500"/>
                        <a:pt x="248813" y="698500"/>
                      </a:cubicBezTo>
                      <a:cubicBezTo>
                        <a:pt x="244543" y="698500"/>
                        <a:pt x="241697" y="695624"/>
                        <a:pt x="241697" y="691309"/>
                      </a:cubicBezTo>
                      <a:cubicBezTo>
                        <a:pt x="241697" y="691309"/>
                        <a:pt x="241697" y="691309"/>
                        <a:pt x="241697" y="621553"/>
                      </a:cubicBezTo>
                      <a:cubicBezTo>
                        <a:pt x="241697" y="617239"/>
                        <a:pt x="244543" y="614362"/>
                        <a:pt x="248813" y="614362"/>
                      </a:cubicBezTo>
                      <a:close/>
                      <a:moveTo>
                        <a:pt x="129813" y="614362"/>
                      </a:moveTo>
                      <a:cubicBezTo>
                        <a:pt x="129813" y="614362"/>
                        <a:pt x="129813" y="614362"/>
                        <a:pt x="198006" y="614362"/>
                      </a:cubicBezTo>
                      <a:cubicBezTo>
                        <a:pt x="201596" y="614362"/>
                        <a:pt x="205185" y="617239"/>
                        <a:pt x="205185" y="621553"/>
                      </a:cubicBezTo>
                      <a:cubicBezTo>
                        <a:pt x="205185" y="621553"/>
                        <a:pt x="205185" y="621553"/>
                        <a:pt x="205185" y="691309"/>
                      </a:cubicBezTo>
                      <a:cubicBezTo>
                        <a:pt x="205185" y="695624"/>
                        <a:pt x="201596" y="698500"/>
                        <a:pt x="198006" y="698500"/>
                      </a:cubicBezTo>
                      <a:cubicBezTo>
                        <a:pt x="198006" y="698500"/>
                        <a:pt x="198006" y="698500"/>
                        <a:pt x="129813" y="698500"/>
                      </a:cubicBezTo>
                      <a:cubicBezTo>
                        <a:pt x="125506" y="698500"/>
                        <a:pt x="122635" y="695624"/>
                        <a:pt x="122635" y="691309"/>
                      </a:cubicBezTo>
                      <a:cubicBezTo>
                        <a:pt x="122635" y="691309"/>
                        <a:pt x="122635" y="691309"/>
                        <a:pt x="122635" y="621553"/>
                      </a:cubicBezTo>
                      <a:cubicBezTo>
                        <a:pt x="122635" y="617239"/>
                        <a:pt x="125506" y="614362"/>
                        <a:pt x="129813" y="614362"/>
                      </a:cubicBezTo>
                      <a:close/>
                      <a:moveTo>
                        <a:pt x="796730" y="490381"/>
                      </a:moveTo>
                      <a:cubicBezTo>
                        <a:pt x="796730" y="490381"/>
                        <a:pt x="796730" y="490381"/>
                        <a:pt x="756924" y="514708"/>
                      </a:cubicBezTo>
                      <a:cubicBezTo>
                        <a:pt x="755503" y="514708"/>
                        <a:pt x="754081" y="513992"/>
                        <a:pt x="752660" y="513992"/>
                      </a:cubicBezTo>
                      <a:cubicBezTo>
                        <a:pt x="750527" y="513992"/>
                        <a:pt x="748395" y="514708"/>
                        <a:pt x="746262" y="515423"/>
                      </a:cubicBezTo>
                      <a:cubicBezTo>
                        <a:pt x="746262" y="515423"/>
                        <a:pt x="746262" y="515423"/>
                        <a:pt x="717829" y="503975"/>
                      </a:cubicBezTo>
                      <a:cubicBezTo>
                        <a:pt x="715697" y="502544"/>
                        <a:pt x="712854" y="503260"/>
                        <a:pt x="711432" y="505406"/>
                      </a:cubicBezTo>
                      <a:cubicBezTo>
                        <a:pt x="710010" y="508268"/>
                        <a:pt x="710721" y="511130"/>
                        <a:pt x="712854" y="512561"/>
                      </a:cubicBezTo>
                      <a:cubicBezTo>
                        <a:pt x="712854" y="512561"/>
                        <a:pt x="712854" y="512561"/>
                        <a:pt x="739865" y="528302"/>
                      </a:cubicBezTo>
                      <a:cubicBezTo>
                        <a:pt x="740576" y="531880"/>
                        <a:pt x="741997" y="534742"/>
                        <a:pt x="744840" y="536888"/>
                      </a:cubicBezTo>
                      <a:cubicBezTo>
                        <a:pt x="746973" y="538319"/>
                        <a:pt x="749816" y="539750"/>
                        <a:pt x="752660" y="539750"/>
                      </a:cubicBezTo>
                      <a:cubicBezTo>
                        <a:pt x="755503" y="539750"/>
                        <a:pt x="757635" y="538319"/>
                        <a:pt x="759768" y="536888"/>
                      </a:cubicBezTo>
                      <a:cubicBezTo>
                        <a:pt x="762611" y="534742"/>
                        <a:pt x="764743" y="531164"/>
                        <a:pt x="764743" y="526871"/>
                      </a:cubicBezTo>
                      <a:cubicBezTo>
                        <a:pt x="764743" y="526871"/>
                        <a:pt x="764743" y="526871"/>
                        <a:pt x="803128" y="498252"/>
                      </a:cubicBezTo>
                      <a:cubicBezTo>
                        <a:pt x="805260" y="496105"/>
                        <a:pt x="805260" y="493243"/>
                        <a:pt x="803839" y="491097"/>
                      </a:cubicBezTo>
                      <a:cubicBezTo>
                        <a:pt x="801706" y="488950"/>
                        <a:pt x="798863" y="488950"/>
                        <a:pt x="796730" y="490381"/>
                      </a:cubicBezTo>
                      <a:close/>
                      <a:moveTo>
                        <a:pt x="751285" y="447675"/>
                      </a:moveTo>
                      <a:cubicBezTo>
                        <a:pt x="771981" y="447675"/>
                        <a:pt x="790535" y="456318"/>
                        <a:pt x="805522" y="469283"/>
                      </a:cubicBezTo>
                      <a:cubicBezTo>
                        <a:pt x="819795" y="483688"/>
                        <a:pt x="829072" y="503855"/>
                        <a:pt x="829072" y="525463"/>
                      </a:cubicBezTo>
                      <a:cubicBezTo>
                        <a:pt x="829072" y="529064"/>
                        <a:pt x="829072" y="532665"/>
                        <a:pt x="828359" y="536266"/>
                      </a:cubicBezTo>
                      <a:cubicBezTo>
                        <a:pt x="823363" y="574440"/>
                        <a:pt x="790535" y="603250"/>
                        <a:pt x="751285" y="603250"/>
                      </a:cubicBezTo>
                      <a:cubicBezTo>
                        <a:pt x="712034" y="603250"/>
                        <a:pt x="679206" y="574440"/>
                        <a:pt x="674211" y="536266"/>
                      </a:cubicBezTo>
                      <a:cubicBezTo>
                        <a:pt x="673497" y="532665"/>
                        <a:pt x="673497" y="529064"/>
                        <a:pt x="673497" y="525463"/>
                      </a:cubicBezTo>
                      <a:cubicBezTo>
                        <a:pt x="673497" y="503855"/>
                        <a:pt x="682775" y="483688"/>
                        <a:pt x="697761" y="469283"/>
                      </a:cubicBezTo>
                      <a:cubicBezTo>
                        <a:pt x="712034" y="456318"/>
                        <a:pt x="730589" y="447675"/>
                        <a:pt x="751285" y="447675"/>
                      </a:cubicBezTo>
                      <a:close/>
                      <a:moveTo>
                        <a:pt x="933847" y="344487"/>
                      </a:moveTo>
                      <a:cubicBezTo>
                        <a:pt x="933847" y="344487"/>
                        <a:pt x="933847" y="344487"/>
                        <a:pt x="1272741" y="344487"/>
                      </a:cubicBezTo>
                      <a:cubicBezTo>
                        <a:pt x="1272741" y="344487"/>
                        <a:pt x="1272741" y="344487"/>
                        <a:pt x="1497956" y="506448"/>
                      </a:cubicBezTo>
                      <a:cubicBezTo>
                        <a:pt x="1510110" y="515723"/>
                        <a:pt x="1503676" y="534987"/>
                        <a:pt x="1489376" y="534987"/>
                      </a:cubicBezTo>
                      <a:cubicBezTo>
                        <a:pt x="1489376" y="534987"/>
                        <a:pt x="1489376" y="534987"/>
                        <a:pt x="1177651" y="534987"/>
                      </a:cubicBezTo>
                      <a:cubicBezTo>
                        <a:pt x="1176936" y="533560"/>
                        <a:pt x="1175506" y="531420"/>
                        <a:pt x="1173361" y="530706"/>
                      </a:cubicBezTo>
                      <a:cubicBezTo>
                        <a:pt x="1173361" y="530706"/>
                        <a:pt x="1173361" y="530706"/>
                        <a:pt x="933847" y="344487"/>
                      </a:cubicBezTo>
                      <a:close/>
                      <a:moveTo>
                        <a:pt x="230762" y="344487"/>
                      </a:moveTo>
                      <a:cubicBezTo>
                        <a:pt x="230762" y="344487"/>
                        <a:pt x="230762" y="344487"/>
                        <a:pt x="568722" y="344487"/>
                      </a:cubicBezTo>
                      <a:cubicBezTo>
                        <a:pt x="568722" y="344487"/>
                        <a:pt x="568722" y="344487"/>
                        <a:pt x="329868" y="530706"/>
                      </a:cubicBezTo>
                      <a:cubicBezTo>
                        <a:pt x="327729" y="531420"/>
                        <a:pt x="326303" y="533560"/>
                        <a:pt x="325590" y="534987"/>
                      </a:cubicBezTo>
                      <a:cubicBezTo>
                        <a:pt x="325590" y="534987"/>
                        <a:pt x="325590" y="534987"/>
                        <a:pt x="15437" y="534987"/>
                      </a:cubicBezTo>
                      <a:cubicBezTo>
                        <a:pt x="464" y="534987"/>
                        <a:pt x="-5953" y="515723"/>
                        <a:pt x="6881" y="506448"/>
                      </a:cubicBezTo>
                      <a:cubicBezTo>
                        <a:pt x="6881" y="506448"/>
                        <a:pt x="6881" y="506448"/>
                        <a:pt x="230762" y="344487"/>
                      </a:cubicBezTo>
                      <a:close/>
                      <a:moveTo>
                        <a:pt x="738983" y="0"/>
                      </a:moveTo>
                      <a:cubicBezTo>
                        <a:pt x="738983" y="0"/>
                        <a:pt x="738983" y="0"/>
                        <a:pt x="762566" y="0"/>
                      </a:cubicBezTo>
                      <a:cubicBezTo>
                        <a:pt x="762566" y="0"/>
                        <a:pt x="762566" y="0"/>
                        <a:pt x="951943" y="0"/>
                      </a:cubicBezTo>
                      <a:cubicBezTo>
                        <a:pt x="955516" y="0"/>
                        <a:pt x="957660" y="4278"/>
                        <a:pt x="954802" y="7131"/>
                      </a:cubicBezTo>
                      <a:cubicBezTo>
                        <a:pt x="954802" y="7131"/>
                        <a:pt x="954802" y="7131"/>
                        <a:pt x="906207" y="55620"/>
                      </a:cubicBezTo>
                      <a:cubicBezTo>
                        <a:pt x="904778" y="57046"/>
                        <a:pt x="904778" y="59898"/>
                        <a:pt x="906207" y="61324"/>
                      </a:cubicBezTo>
                      <a:cubicBezTo>
                        <a:pt x="906207" y="61324"/>
                        <a:pt x="906207" y="61324"/>
                        <a:pt x="954802" y="109813"/>
                      </a:cubicBezTo>
                      <a:cubicBezTo>
                        <a:pt x="957660" y="112666"/>
                        <a:pt x="955516" y="116944"/>
                        <a:pt x="951943" y="116944"/>
                      </a:cubicBezTo>
                      <a:cubicBezTo>
                        <a:pt x="951943" y="116944"/>
                        <a:pt x="951943" y="116944"/>
                        <a:pt x="770427" y="116944"/>
                      </a:cubicBezTo>
                      <a:cubicBezTo>
                        <a:pt x="768283" y="116944"/>
                        <a:pt x="766854" y="118370"/>
                        <a:pt x="766854" y="120510"/>
                      </a:cubicBezTo>
                      <a:cubicBezTo>
                        <a:pt x="766854" y="120510"/>
                        <a:pt x="766854" y="120510"/>
                        <a:pt x="766854" y="214636"/>
                      </a:cubicBezTo>
                      <a:cubicBezTo>
                        <a:pt x="766854" y="214636"/>
                        <a:pt x="766854" y="214636"/>
                        <a:pt x="761852" y="211070"/>
                      </a:cubicBezTo>
                      <a:cubicBezTo>
                        <a:pt x="756849" y="206792"/>
                        <a:pt x="748274" y="206792"/>
                        <a:pt x="743271" y="211070"/>
                      </a:cubicBezTo>
                      <a:cubicBezTo>
                        <a:pt x="743271" y="211070"/>
                        <a:pt x="743271" y="211070"/>
                        <a:pt x="735410" y="217488"/>
                      </a:cubicBezTo>
                      <a:cubicBezTo>
                        <a:pt x="735410" y="217488"/>
                        <a:pt x="735410" y="217488"/>
                        <a:pt x="735410" y="116944"/>
                      </a:cubicBezTo>
                      <a:cubicBezTo>
                        <a:pt x="735410" y="116944"/>
                        <a:pt x="735410" y="116944"/>
                        <a:pt x="735410" y="4278"/>
                      </a:cubicBezTo>
                      <a:cubicBezTo>
                        <a:pt x="735410" y="2139"/>
                        <a:pt x="736840" y="0"/>
                        <a:pt x="738983" y="0"/>
                      </a:cubicBezTo>
                      <a:close/>
                    </a:path>
                  </a:pathLst>
                </a:custGeom>
                <a:solidFill>
                  <a:srgbClr val="4C789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de-DE" dirty="0"/>
                </a:p>
              </p:txBody>
            </p:sp>
          </p:grpSp>
        </p:grpSp>
      </p:grpSp>
      <p:sp>
        <p:nvSpPr>
          <p:cNvPr id="178" name="ee4pContent2">
            <a:extLst>
              <a:ext uri="{FF2B5EF4-FFF2-40B4-BE49-F238E27FC236}">
                <a16:creationId xmlns:a16="http://schemas.microsoft.com/office/drawing/2014/main" id="{E7BE8857-B455-4DFB-8C54-273BAB944C1F}"/>
              </a:ext>
            </a:extLst>
          </p:cNvPr>
          <p:cNvSpPr txBox="1"/>
          <p:nvPr/>
        </p:nvSpPr>
        <p:spPr>
          <a:xfrm>
            <a:off x="2881071" y="1586307"/>
            <a:ext cx="2156471" cy="476218"/>
          </a:xfrm>
          <a:prstGeom prst="rect">
            <a:avLst/>
          </a:prstGeom>
          <a:noFill/>
          <a:ln w="9525" cap="flat" cmpd="sng" algn="ctr">
            <a:noFill/>
            <a:prstDash val="solid"/>
          </a:ln>
          <a:effectLst/>
          <a:extLst>
            <a:ext uri="{91240B29-F687-4F45-9708-019B960494DF}">
              <a14:hiddenLine xmlns:a14="http://schemas.microsoft.com/office/drawing/2010/main" w="9525" cap="flat" cmpd="sng" algn="ctr">
                <a:solidFill>
                  <a:schemeClr val="accent1"/>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defPPr>
              <a:defRPr lang="en-US"/>
            </a:defPPr>
            <a:lvl1pPr>
              <a:buSzPct val="100000"/>
              <a:buFont typeface="Trebuchet MS" panose="020B0603020202020204" pitchFamily="34" charset="0"/>
              <a:buChar char="​"/>
              <a:defRPr sz="1200">
                <a:solidFill>
                  <a:srgbClr val="008DC9"/>
                </a:solidFill>
              </a:defRPr>
            </a:lvl1pPr>
            <a:lvl2pPr marL="288000" lvl="1" indent="-180000">
              <a:buClr>
                <a:srgbClr val="008DC9"/>
              </a:buClr>
              <a:buSzPct val="100000"/>
              <a:buFont typeface="Trebuchet MS" panose="020B0603020202020204" pitchFamily="34" charset="0"/>
              <a:buChar char="•"/>
              <a:defRPr sz="1200">
                <a:solidFill>
                  <a:srgbClr val="008DC9"/>
                </a:solidFill>
              </a:defRPr>
            </a:lvl2pPr>
            <a:lvl3pPr marL="576000" lvl="2" indent="-180000">
              <a:buClr>
                <a:srgbClr val="008DC9"/>
              </a:buClr>
              <a:buSzPct val="100000"/>
              <a:buFont typeface="Arial" panose="020B0604020202020204" pitchFamily="34" charset="0"/>
              <a:buChar char="–"/>
              <a:defRPr sz="1200">
                <a:solidFill>
                  <a:srgbClr val="008DC9"/>
                </a:solidFill>
              </a:defRPr>
            </a:lvl3pPr>
            <a:lvl4pPr marL="0" lvl="3">
              <a:buSzPct val="100000"/>
              <a:buFont typeface="Trebuchet MS" panose="020B0603020202020204" pitchFamily="34" charset="0"/>
              <a:buChar char="​"/>
              <a:defRPr sz="1600">
                <a:solidFill>
                  <a:srgbClr val="006A97"/>
                </a:solidFill>
              </a:defRPr>
            </a:lvl4pPr>
            <a:lvl5pPr marL="0" lvl="4">
              <a:buSzPct val="100000"/>
              <a:buFont typeface="Trebuchet MS" panose="020B0603020202020204" pitchFamily="34" charset="0"/>
              <a:buChar char="​"/>
              <a:defRPr sz="1600" b="1">
                <a:solidFill>
                  <a:srgbClr val="008DC9"/>
                </a:solidFill>
              </a:defRPr>
            </a:lvl5pPr>
            <a:lvl6pPr marL="288000" lvl="5" indent="-180000">
              <a:buClr>
                <a:srgbClr val="008DC9"/>
              </a:buClr>
              <a:buSzPct val="100000"/>
              <a:buFont typeface="Trebuchet MS" panose="020B0603020202020204" pitchFamily="34" charset="0"/>
              <a:buChar char="•"/>
              <a:defRPr sz="1600">
                <a:solidFill>
                  <a:srgbClr val="008DC9"/>
                </a:solidFill>
              </a:defRPr>
            </a:lvl6pPr>
            <a:lvl7pPr marL="0" lvl="6">
              <a:buSzPct val="100000"/>
              <a:buFont typeface="Trebuchet MS" panose="020B0603020202020204" pitchFamily="34" charset="0"/>
              <a:buChar char="​"/>
              <a:defRPr sz="4400">
                <a:solidFill>
                  <a:srgbClr val="008DC9"/>
                </a:solidFill>
              </a:defRPr>
            </a:lvl7pPr>
            <a:lvl8pPr marL="0" lvl="7">
              <a:buSzPct val="100000"/>
              <a:buFont typeface="Trebuchet MS" panose="020B0603020202020204" pitchFamily="34" charset="0"/>
              <a:buChar char="​"/>
              <a:defRPr sz="4000">
                <a:solidFill>
                  <a:srgbClr val="006A97"/>
                </a:solidFill>
              </a:defRPr>
            </a:lvl8pPr>
            <a:lvl9pPr marL="0" lvl="8">
              <a:buSzPct val="100000"/>
              <a:buFont typeface="Trebuchet MS" panose="020B0603020202020204" pitchFamily="34" charset="0"/>
              <a:buChar char="​"/>
              <a:defRPr sz="2400">
                <a:solidFill>
                  <a:srgbClr val="006A97"/>
                </a:solidFill>
              </a:defRPr>
            </a:lvl9pPr>
          </a:lstStyle>
          <a:p>
            <a:pPr algn="ctr">
              <a:buNone/>
            </a:pPr>
            <a:r>
              <a:rPr lang="de-DE" sz="1050" b="1" dirty="0">
                <a:solidFill>
                  <a:srgbClr val="0A4E78"/>
                </a:solidFill>
              </a:rPr>
              <a:t>~ 6 - 8 Einrichtungen pro </a:t>
            </a:r>
            <a:br>
              <a:rPr lang="de-DE" sz="1050" b="1" dirty="0">
                <a:solidFill>
                  <a:srgbClr val="0A4E78"/>
                </a:solidFill>
              </a:rPr>
            </a:br>
            <a:r>
              <a:rPr lang="de-DE" sz="1050" b="1" dirty="0">
                <a:solidFill>
                  <a:srgbClr val="0A4E78"/>
                </a:solidFill>
              </a:rPr>
              <a:t>Sammelfahrt</a:t>
            </a:r>
          </a:p>
        </p:txBody>
      </p:sp>
      <p:grpSp>
        <p:nvGrpSpPr>
          <p:cNvPr id="310" name="Group 309">
            <a:extLst>
              <a:ext uri="{FF2B5EF4-FFF2-40B4-BE49-F238E27FC236}">
                <a16:creationId xmlns:a16="http://schemas.microsoft.com/office/drawing/2014/main" id="{BCC2684F-9185-417A-8825-50120EE3A1C6}"/>
              </a:ext>
            </a:extLst>
          </p:cNvPr>
          <p:cNvGrpSpPr/>
          <p:nvPr/>
        </p:nvGrpSpPr>
        <p:grpSpPr>
          <a:xfrm>
            <a:off x="771642" y="2293224"/>
            <a:ext cx="2175719" cy="229628"/>
            <a:chOff x="2961053" y="4786314"/>
            <a:chExt cx="2900958" cy="306171"/>
          </a:xfrm>
        </p:grpSpPr>
        <p:cxnSp>
          <p:nvCxnSpPr>
            <p:cNvPr id="312" name="Straight Connector 311">
              <a:extLst>
                <a:ext uri="{FF2B5EF4-FFF2-40B4-BE49-F238E27FC236}">
                  <a16:creationId xmlns:a16="http://schemas.microsoft.com/office/drawing/2014/main" id="{017ED7B6-5916-48C8-8153-C89FB92CF5EB}"/>
                </a:ext>
              </a:extLst>
            </p:cNvPr>
            <p:cNvCxnSpPr>
              <a:cxnSpLocks/>
            </p:cNvCxnSpPr>
            <p:nvPr/>
          </p:nvCxnSpPr>
          <p:spPr>
            <a:xfrm flipH="1">
              <a:off x="2961053" y="4939401"/>
              <a:ext cx="2900958"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13" name="Group 312">
              <a:extLst>
                <a:ext uri="{FF2B5EF4-FFF2-40B4-BE49-F238E27FC236}">
                  <a16:creationId xmlns:a16="http://schemas.microsoft.com/office/drawing/2014/main" id="{AB1F3440-8A69-4F88-862E-D5B510AB5775}"/>
                </a:ext>
              </a:extLst>
            </p:cNvPr>
            <p:cNvGrpSpPr/>
            <p:nvPr/>
          </p:nvGrpSpPr>
          <p:grpSpPr>
            <a:xfrm rot="5400000">
              <a:off x="4258447" y="4785945"/>
              <a:ext cx="306171" cy="306910"/>
              <a:chOff x="5937564" y="3833745"/>
              <a:chExt cx="306171" cy="306910"/>
            </a:xfrm>
          </p:grpSpPr>
          <p:sp>
            <p:nvSpPr>
              <p:cNvPr id="315" name="Freeform 94">
                <a:extLst>
                  <a:ext uri="{FF2B5EF4-FFF2-40B4-BE49-F238E27FC236}">
                    <a16:creationId xmlns:a16="http://schemas.microsoft.com/office/drawing/2014/main" id="{C9323632-9BD7-43BF-AE15-08D2EFEBED72}"/>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ACACAC"/>
              </a:solidFill>
              <a:ln w="9525" cap="flat" cmpd="sng" algn="ctr">
                <a:solidFill>
                  <a:srgbClr val="ACACAC"/>
                </a:solidFill>
                <a:prstDash val="solid"/>
                <a:round/>
                <a:headEnd type="none" w="med" len="med"/>
                <a:tailEnd type="none" w="med" len="med"/>
              </a:ln>
            </p:spPr>
            <p:txBody>
              <a:bodyPr vert="horz" wrap="square" lIns="66481" tIns="33241" rIns="66481" bIns="33241" numCol="1" anchor="t" anchorCtr="0" compatLnSpc="1">
                <a:prstTxWarp prst="textNoShape">
                  <a:avLst/>
                </a:prstTxWarp>
              </a:bodyPr>
              <a:lstStyle/>
              <a:p>
                <a:endParaRPr lang="en-US" dirty="0">
                  <a:solidFill>
                    <a:srgbClr val="6E6F73"/>
                  </a:solidFill>
                </a:endParaRPr>
              </a:p>
            </p:txBody>
          </p:sp>
          <p:sp>
            <p:nvSpPr>
              <p:cNvPr id="316" name="Freeform 95">
                <a:extLst>
                  <a:ext uri="{FF2B5EF4-FFF2-40B4-BE49-F238E27FC236}">
                    <a16:creationId xmlns:a16="http://schemas.microsoft.com/office/drawing/2014/main" id="{AA8CCEC7-9F08-4B70-8747-FAD5806AA408}"/>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dirty="0">
                  <a:solidFill>
                    <a:srgbClr val="6E6F73"/>
                  </a:solidFill>
                </a:endParaRPr>
              </a:p>
            </p:txBody>
          </p:sp>
        </p:grpSp>
      </p:grpSp>
      <p:grpSp>
        <p:nvGrpSpPr>
          <p:cNvPr id="318" name="Group 317">
            <a:extLst>
              <a:ext uri="{FF2B5EF4-FFF2-40B4-BE49-F238E27FC236}">
                <a16:creationId xmlns:a16="http://schemas.microsoft.com/office/drawing/2014/main" id="{C45ED277-A972-42CD-8038-2BDB6786BF85}"/>
              </a:ext>
            </a:extLst>
          </p:cNvPr>
          <p:cNvGrpSpPr/>
          <p:nvPr/>
        </p:nvGrpSpPr>
        <p:grpSpPr>
          <a:xfrm>
            <a:off x="771642" y="3369151"/>
            <a:ext cx="2175719" cy="229628"/>
            <a:chOff x="2961053" y="4786314"/>
            <a:chExt cx="2900958" cy="306171"/>
          </a:xfrm>
        </p:grpSpPr>
        <p:cxnSp>
          <p:nvCxnSpPr>
            <p:cNvPr id="319" name="Straight Connector 318">
              <a:extLst>
                <a:ext uri="{FF2B5EF4-FFF2-40B4-BE49-F238E27FC236}">
                  <a16:creationId xmlns:a16="http://schemas.microsoft.com/office/drawing/2014/main" id="{F2FBDD84-2E2D-4548-96EB-74B080D98877}"/>
                </a:ext>
              </a:extLst>
            </p:cNvPr>
            <p:cNvCxnSpPr>
              <a:cxnSpLocks/>
            </p:cNvCxnSpPr>
            <p:nvPr/>
          </p:nvCxnSpPr>
          <p:spPr>
            <a:xfrm flipH="1">
              <a:off x="2961053" y="4939401"/>
              <a:ext cx="2900958" cy="0"/>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21" name="Group 320">
              <a:extLst>
                <a:ext uri="{FF2B5EF4-FFF2-40B4-BE49-F238E27FC236}">
                  <a16:creationId xmlns:a16="http://schemas.microsoft.com/office/drawing/2014/main" id="{B6C0ABF7-277D-40CF-AA11-6C797E3539C7}"/>
                </a:ext>
              </a:extLst>
            </p:cNvPr>
            <p:cNvGrpSpPr/>
            <p:nvPr/>
          </p:nvGrpSpPr>
          <p:grpSpPr>
            <a:xfrm rot="5400000">
              <a:off x="4258447" y="4785945"/>
              <a:ext cx="306171" cy="306910"/>
              <a:chOff x="5937564" y="3833745"/>
              <a:chExt cx="306171" cy="306910"/>
            </a:xfrm>
          </p:grpSpPr>
          <p:sp>
            <p:nvSpPr>
              <p:cNvPr id="322" name="Freeform 94">
                <a:extLst>
                  <a:ext uri="{FF2B5EF4-FFF2-40B4-BE49-F238E27FC236}">
                    <a16:creationId xmlns:a16="http://schemas.microsoft.com/office/drawing/2014/main" id="{CD27BAC0-D6B3-4BE7-BD02-B194FF2F3511}"/>
                  </a:ext>
                </a:extLst>
              </p:cNvPr>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rgbClr val="ACACAC"/>
              </a:solidFill>
              <a:ln w="9525" cap="flat" cmpd="sng" algn="ctr">
                <a:solidFill>
                  <a:srgbClr val="ACACAC"/>
                </a:solidFill>
                <a:prstDash val="solid"/>
                <a:round/>
                <a:headEnd type="none" w="med" len="med"/>
                <a:tailEnd type="none" w="med" len="med"/>
              </a:ln>
            </p:spPr>
            <p:txBody>
              <a:bodyPr vert="horz" wrap="square" lIns="66481" tIns="33241" rIns="66481" bIns="33241" numCol="1" anchor="t" anchorCtr="0" compatLnSpc="1">
                <a:prstTxWarp prst="textNoShape">
                  <a:avLst/>
                </a:prstTxWarp>
              </a:bodyPr>
              <a:lstStyle/>
              <a:p>
                <a:endParaRPr lang="en-US" dirty="0">
                  <a:solidFill>
                    <a:srgbClr val="6E6F73"/>
                  </a:solidFill>
                </a:endParaRPr>
              </a:p>
            </p:txBody>
          </p:sp>
          <p:sp>
            <p:nvSpPr>
              <p:cNvPr id="324" name="Freeform 95">
                <a:extLst>
                  <a:ext uri="{FF2B5EF4-FFF2-40B4-BE49-F238E27FC236}">
                    <a16:creationId xmlns:a16="http://schemas.microsoft.com/office/drawing/2014/main" id="{08A28CC7-C982-4332-969B-202DDBC7712B}"/>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dirty="0">
                  <a:solidFill>
                    <a:srgbClr val="6E6F73"/>
                  </a:solidFill>
                </a:endParaRPr>
              </a:p>
            </p:txBody>
          </p:sp>
        </p:grpSp>
      </p:grpSp>
      <p:grpSp>
        <p:nvGrpSpPr>
          <p:cNvPr id="6" name="Group 5">
            <a:extLst>
              <a:ext uri="{FF2B5EF4-FFF2-40B4-BE49-F238E27FC236}">
                <a16:creationId xmlns:a16="http://schemas.microsoft.com/office/drawing/2014/main" id="{9D385841-74DB-4F57-8095-6A7E7969F74A}"/>
              </a:ext>
            </a:extLst>
          </p:cNvPr>
          <p:cNvGrpSpPr/>
          <p:nvPr/>
        </p:nvGrpSpPr>
        <p:grpSpPr>
          <a:xfrm>
            <a:off x="3047446" y="4369384"/>
            <a:ext cx="2285315" cy="374660"/>
            <a:chOff x="3047446" y="4408019"/>
            <a:chExt cx="2285315" cy="374660"/>
          </a:xfrm>
        </p:grpSpPr>
        <p:cxnSp>
          <p:nvCxnSpPr>
            <p:cNvPr id="184" name="Straight Connector 183">
              <a:extLst>
                <a:ext uri="{FF2B5EF4-FFF2-40B4-BE49-F238E27FC236}">
                  <a16:creationId xmlns:a16="http://schemas.microsoft.com/office/drawing/2014/main" id="{CB0BC1A7-EDE5-4EF6-8D6D-06DE6FC61C6E}"/>
                </a:ext>
              </a:extLst>
            </p:cNvPr>
            <p:cNvCxnSpPr>
              <a:cxnSpLocks/>
            </p:cNvCxnSpPr>
            <p:nvPr/>
          </p:nvCxnSpPr>
          <p:spPr>
            <a:xfrm>
              <a:off x="3428277" y="4408019"/>
              <a:ext cx="0" cy="126642"/>
            </a:xfrm>
            <a:prstGeom prst="line">
              <a:avLst/>
            </a:prstGeom>
            <a:noFill/>
            <a:ln w="19050" cap="rnd" cmpd="sng" algn="ctr">
              <a:solidFill>
                <a:srgbClr val="4C7895"/>
              </a:solidFill>
              <a:prstDash val="solid"/>
              <a:round/>
              <a:headEnd type="oval" w="med" len="med"/>
              <a:tailEnd type="none" w="sm" len="sm"/>
            </a:ln>
            <a:effectLst/>
          </p:spPr>
        </p:cxnSp>
        <p:sp>
          <p:nvSpPr>
            <p:cNvPr id="185" name="Rectangle 184">
              <a:extLst>
                <a:ext uri="{FF2B5EF4-FFF2-40B4-BE49-F238E27FC236}">
                  <a16:creationId xmlns:a16="http://schemas.microsoft.com/office/drawing/2014/main" id="{A22FBF9B-4A24-44A0-80D3-BD5C1E36942E}"/>
                </a:ext>
              </a:extLst>
            </p:cNvPr>
            <p:cNvSpPr/>
            <p:nvPr/>
          </p:nvSpPr>
          <p:spPr>
            <a:xfrm flipH="1">
              <a:off x="3047446" y="4491284"/>
              <a:ext cx="2285315" cy="291395"/>
            </a:xfrm>
            <a:prstGeom prst="rect">
              <a:avLst/>
            </a:prstGeom>
            <a:solidFill>
              <a:srgbClr val="FFFFFF"/>
            </a:solidFill>
            <a:ln w="19050" cap="rnd" cmpd="sng" algn="ctr">
              <a:solidFill>
                <a:srgbClr val="6C8CA6"/>
              </a:solidFill>
              <a:prstDash val="solid"/>
              <a:round/>
              <a:headEnd type="none" w="med" len="med"/>
              <a:tailEnd type="none" w="med" len="med"/>
            </a:ln>
            <a:effectLst/>
          </p:spPr>
          <p:txBody>
            <a:bodyPr lIns="34290" tIns="34290" rIns="34290" bIns="34290" rtlCol="0" anchor="ctr" anchorCtr="0"/>
            <a:lstStyle/>
            <a:p>
              <a:pPr algn="ctr">
                <a:buSzPct val="100000"/>
                <a:buFont typeface="Trebuchet MS" panose="020B0603020202020204" pitchFamily="34" charset="0"/>
                <a:buChar char="​"/>
                <a:defRPr/>
              </a:pPr>
              <a:r>
                <a:rPr lang="de-DE" sz="750" b="1" dirty="0">
                  <a:solidFill>
                    <a:srgbClr val="4C7895"/>
                  </a:solidFill>
                  <a:latin typeface="Arial" panose="020B0604020202020204" pitchFamily="34" charset="0"/>
                </a:rPr>
                <a:t>Handelsüblicher Kleintransporter ausreichend</a:t>
              </a:r>
              <a:br>
                <a:rPr lang="de-DE" sz="750" b="1" dirty="0">
                  <a:solidFill>
                    <a:srgbClr val="4C7895"/>
                  </a:solidFill>
                  <a:latin typeface="Arial" panose="020B0604020202020204" pitchFamily="34" charset="0"/>
                </a:rPr>
              </a:br>
              <a:r>
                <a:rPr lang="de-DE" sz="750" b="1" dirty="0">
                  <a:solidFill>
                    <a:srgbClr val="4C7895"/>
                  </a:solidFill>
                  <a:latin typeface="Arial" panose="020B0604020202020204" pitchFamily="34" charset="0"/>
                </a:rPr>
                <a:t> (Kastenwagen ca. 8.000 l Ladevolumen)</a:t>
              </a:r>
            </a:p>
          </p:txBody>
        </p:sp>
      </p:grpSp>
    </p:spTree>
    <p:custDataLst>
      <p:tags r:id="rId2"/>
    </p:custDataLst>
    <p:extLst>
      <p:ext uri="{BB962C8B-B14F-4D97-AF65-F5344CB8AC3E}">
        <p14:creationId xmlns:p14="http://schemas.microsoft.com/office/powerpoint/2010/main" val="1641829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8CCD3B9-8018-477C-88B6-EBBF0B1731F3}"/>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28" name="think-cell Slide" r:id="rId4" imgW="473" imgH="473" progId="TCLayout.ActiveDocument.1">
                  <p:embed/>
                </p:oleObj>
              </mc:Choice>
              <mc:Fallback>
                <p:oleObj name="think-cell Slide" r:id="rId4" imgW="473" imgH="473" progId="TCLayout.ActiveDocument.1">
                  <p:embed/>
                  <p:pic>
                    <p:nvPicPr>
                      <p:cNvPr id="3" name="Object 2" hidden="1">
                        <a:extLst>
                          <a:ext uri="{FF2B5EF4-FFF2-40B4-BE49-F238E27FC236}">
                            <a16:creationId xmlns:a16="http://schemas.microsoft.com/office/drawing/2014/main" id="{18CCD3B9-8018-477C-88B6-EBBF0B1731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8502779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LANGUAGE_ID" val="1031"/>
  <p:tag name="THINKCELLPRESENTATIONDONOTDELETE" val="&lt;?xml version=&quot;1.0&quot; encoding=&quot;UTF-16&quot; standalone=&quot;yes&quot;?&gt;&lt;root reqver=&quot;27037&quot;&gt;&lt;version val=&quot;3259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EE4P_STYLE_ID" val="XgRIev8y"/>
  <p:tag name="EE4P_STYLE_NAME" val="StMAS 2021 Grid 16:9"/>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76.xml><?xml version="1.0" encoding="utf-8"?>
<p:tagLst xmlns:a="http://schemas.openxmlformats.org/drawingml/2006/main" xmlns:r="http://schemas.openxmlformats.org/officeDocument/2006/relationships" xmlns:p="http://schemas.openxmlformats.org/presentationml/2006/main">
  <p:tag name="EE4P_GRADIENT_CIRCLE"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PFSLIDEKEY" val="F398FAD3-3234-4084-8EBB-4092273443FD"/>
  <p:tag name="APLORISLIBID" val="De3fe77eb-2487-4dcb-b970-47ae646f1141.0.4F5FVg=="/>
  <p:tag name="APLORISLIBHASH" val="1.162_OBuIABtZPESjpjscg+7NSxD1EPo="/>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tMAS_Präsentation 2018">
  <a:themeElements>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MAS 2021">
      <a:majorFont>
        <a:latin typeface="Novel Sans Pro"/>
        <a:ea typeface=""/>
        <a:cs typeface="Novel Sans Pro"/>
      </a:majorFont>
      <a:minorFont>
        <a:latin typeface="Novel Sans Pro"/>
        <a:ea typeface=""/>
        <a:cs typeface="Novel Sans Pro"/>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A4E78"/>
        </a:solidFill>
        <a:ln>
          <a:noFill/>
        </a:ln>
        <a:effectLst/>
      </a:spPr>
      <a:bodyPr vert="horz" wrap="square" lIns="91440" tIns="45720" rIns="91440" bIns="45720" numCol="1" rtlCol="0" anchor="ctr" anchorCtr="0" compatLnSpc="1">
        <a:prstTxWarp prst="textNoShape">
          <a:avLst/>
        </a:prstTxWarp>
        <a:noAutofit/>
      </a:bodyPr>
      <a:lstStyle>
        <a:defPPr algn="ctr">
          <a:buFont typeface="Arial" panose="020B0604020202020204" pitchFamily="34" charset="0"/>
          <a:defRPr sz="1200" dirty="0">
            <a:solidFill>
              <a:schemeClr val="bg1"/>
            </a:solidFill>
            <a:latin typeface="+mn-lt"/>
            <a:cs typeface="+mn-cs"/>
          </a:defRPr>
        </a:defPPr>
      </a:lstStyle>
    </a:spDef>
    <a:lnDef>
      <a:spPr bwMode="auto">
        <a:noFill/>
        <a:ln w="9525" cap="flat" cmpd="sng" algn="ctr">
          <a:solidFill>
            <a:srgbClr val="898989"/>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txDef>
      <a:spPr>
        <a:noFill/>
      </a:spPr>
      <a:bodyPr wrap="none" rtlCol="0" anchor="ctr">
        <a:spAutoFit/>
      </a:bodyPr>
      <a:lstStyle>
        <a:defPPr algn="l">
          <a:defRPr sz="1600" dirty="0" err="1" smtClean="0">
            <a:solidFill>
              <a:srgbClr val="0A4E78"/>
            </a:solidFill>
            <a:latin typeface="+mn-lt"/>
          </a:defRPr>
        </a:defPPr>
      </a:lstStyle>
    </a:txDef>
  </a:objectDefaults>
  <a:extraClrSchemeLst>
    <a:extraClrScheme>
      <a:clrScheme name="Benutzerdefiniertes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enutzerdefiniertes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enutzerdefiniertes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enutzerdefiniertes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enutzerdefiniertes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enutzerdefiniertes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enutzerdefiniertes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enutzerdefiniertes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enutzerdefiniertes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enutzerdefiniertes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enutzerdefiniertes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enutzerdefiniertes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StMAS_Präsentation_2020_16zu9.potx" id="{00C3969F-9182-4E9E-970A-FC49A46A2AA4}" vid="{B08F2374-0348-4B3D-ADE7-51D8E7804D5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tMAS_Präsentation_2020_16zu9_Input</Template>
  <TotalTime>0</TotalTime>
  <Words>648</Words>
  <Application>Microsoft Office PowerPoint</Application>
  <PresentationFormat>Bildschirmpräsentation (16:9)</PresentationFormat>
  <Paragraphs>75</Paragraphs>
  <Slides>6</Slides>
  <Notes>2</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6</vt:i4>
      </vt:variant>
    </vt:vector>
  </HeadingPairs>
  <TitlesOfParts>
    <vt:vector size="14" baseType="lpstr">
      <vt:lpstr>Arial</vt:lpstr>
      <vt:lpstr>Calibri</vt:lpstr>
      <vt:lpstr>Novel Sans Pro</vt:lpstr>
      <vt:lpstr>Novel Sans StMAS Regular</vt:lpstr>
      <vt:lpstr>Symbol</vt:lpstr>
      <vt:lpstr>Trebuchet MS</vt:lpstr>
      <vt:lpstr>StMAS_Präsentation 2018</vt:lpstr>
      <vt:lpstr>think-cell Slide</vt:lpstr>
      <vt:lpstr>Hinweise zu Verpackung und Transport</vt:lpstr>
      <vt:lpstr>Bei der Verpackung und dem Transport von  PCR-Pool- und Individualproben sind einige Aspekte zu beachten</vt:lpstr>
      <vt:lpstr>Verpackung muss Anforderungen an Verpackungsanweisung P650 erfüllen </vt:lpstr>
      <vt:lpstr>Erfahrung Grund- und Förderschulen: Die  Kombination der eingesetzten Produkte erfüllt P650</vt:lpstr>
      <vt:lpstr>Materialvolumina sollten im täglichen Transport- prozess berücksichtigt werden</vt:lpstr>
      <vt:lpstr>PowerPoint-Prä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nweise zu Verpackung und Transport</dc:title>
  <dc:subject/>
  <dc:creator>Badde, Rita</dc:creator>
  <cp:keywords/>
  <dc:description/>
  <cp:lastModifiedBy>Krön, Anne-Marie (StMAS)</cp:lastModifiedBy>
  <cp:revision>278</cp:revision>
  <cp:lastPrinted>1999-12-31T22:00:00Z</cp:lastPrinted>
  <dcterms:created xsi:type="dcterms:W3CDTF">2021-10-13T15:26:00Z</dcterms:created>
  <dcterms:modified xsi:type="dcterms:W3CDTF">2022-03-21T08:57:03Z</dcterms:modified>
  <cp:category/>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1813233</vt:lpwstr>
  </property>
  <property fmtid="{D5CDD505-2E9C-101B-9397-08002B2CF9AE}" pid="3" name="NXPowerLiteSettings">
    <vt:lpwstr>89000AA0054001</vt:lpwstr>
  </property>
  <property fmtid="{D5CDD505-2E9C-101B-9397-08002B2CF9AE}" pid="4" name="NXPowerLiteVersion">
    <vt:lpwstr>D8.0.11</vt:lpwstr>
  </property>
  <property fmtid="{D5CDD505-2E9C-101B-9397-08002B2CF9AE}" pid="5" name="MSIP_Label_b0d5c4f4-7a29-4385-b7a5-afbe2154ae6f_Enabled">
    <vt:lpwstr>true</vt:lpwstr>
  </property>
  <property fmtid="{D5CDD505-2E9C-101B-9397-08002B2CF9AE}" pid="6" name="MSIP_Label_b0d5c4f4-7a29-4385-b7a5-afbe2154ae6f_SetDate">
    <vt:lpwstr>2021-10-25T14:58:26Z</vt:lpwstr>
  </property>
  <property fmtid="{D5CDD505-2E9C-101B-9397-08002B2CF9AE}" pid="7" name="MSIP_Label_b0d5c4f4-7a29-4385-b7a5-afbe2154ae6f_Method">
    <vt:lpwstr>Standard</vt:lpwstr>
  </property>
  <property fmtid="{D5CDD505-2E9C-101B-9397-08002B2CF9AE}" pid="8" name="MSIP_Label_b0d5c4f4-7a29-4385-b7a5-afbe2154ae6f_Name">
    <vt:lpwstr>Confidential</vt:lpwstr>
  </property>
  <property fmtid="{D5CDD505-2E9C-101B-9397-08002B2CF9AE}" pid="9" name="MSIP_Label_b0d5c4f4-7a29-4385-b7a5-afbe2154ae6f_SiteId">
    <vt:lpwstr>2dfb2f0b-4d21-4268-9559-72926144c918</vt:lpwstr>
  </property>
  <property fmtid="{D5CDD505-2E9C-101B-9397-08002B2CF9AE}" pid="10" name="MSIP_Label_b0d5c4f4-7a29-4385-b7a5-afbe2154ae6f_ActionId">
    <vt:lpwstr>ceb88c0f-8145-48f3-a2f6-2f07f0a4672f</vt:lpwstr>
  </property>
  <property fmtid="{D5CDD505-2E9C-101B-9397-08002B2CF9AE}" pid="11" name="MSIP_Label_b0d5c4f4-7a29-4385-b7a5-afbe2154ae6f_ContentBits">
    <vt:lpwstr>0</vt:lpwstr>
  </property>
  <property fmtid="{D5CDD505-2E9C-101B-9397-08002B2CF9AE}" pid="12" name="bcgClassification">
    <vt:lpwstr>bcgConfidential</vt:lpwstr>
  </property>
</Properties>
</file>